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media/image17.jpg" ContentType="image/png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886" r:id="rId1"/>
    <p:sldMasterId id="2147483909" r:id="rId2"/>
    <p:sldMasterId id="2147483917" r:id="rId3"/>
  </p:sldMasterIdLst>
  <p:notesMasterIdLst>
    <p:notesMasterId r:id="rId102"/>
  </p:notesMasterIdLst>
  <p:sldIdLst>
    <p:sldId id="372" r:id="rId4"/>
    <p:sldId id="2147470699" r:id="rId5"/>
    <p:sldId id="2147470715" r:id="rId6"/>
    <p:sldId id="2544" r:id="rId7"/>
    <p:sldId id="2147470694" r:id="rId8"/>
    <p:sldId id="2147470693" r:id="rId9"/>
    <p:sldId id="2147470676" r:id="rId10"/>
    <p:sldId id="400" r:id="rId11"/>
    <p:sldId id="2076138639" r:id="rId12"/>
    <p:sldId id="2076138555" r:id="rId13"/>
    <p:sldId id="2147470697" r:id="rId14"/>
    <p:sldId id="2147470698" r:id="rId15"/>
    <p:sldId id="1934" r:id="rId16"/>
    <p:sldId id="1933" r:id="rId17"/>
    <p:sldId id="2076138552" r:id="rId18"/>
    <p:sldId id="2147470700" r:id="rId19"/>
    <p:sldId id="2147470701" r:id="rId20"/>
    <p:sldId id="2147470705" r:id="rId21"/>
    <p:sldId id="2572" r:id="rId22"/>
    <p:sldId id="2573" r:id="rId23"/>
    <p:sldId id="2525" r:id="rId24"/>
    <p:sldId id="2526" r:id="rId25"/>
    <p:sldId id="2147470707" r:id="rId26"/>
    <p:sldId id="2076138612" r:id="rId27"/>
    <p:sldId id="2076138611" r:id="rId28"/>
    <p:sldId id="292" r:id="rId29"/>
    <p:sldId id="2548" r:id="rId30"/>
    <p:sldId id="2147470674" r:id="rId31"/>
    <p:sldId id="2147470673" r:id="rId32"/>
    <p:sldId id="299" r:id="rId33"/>
    <p:sldId id="300" r:id="rId34"/>
    <p:sldId id="2147470677" r:id="rId35"/>
    <p:sldId id="301" r:id="rId36"/>
    <p:sldId id="2147470675" r:id="rId37"/>
    <p:sldId id="303" r:id="rId38"/>
    <p:sldId id="304" r:id="rId39"/>
    <p:sldId id="305" r:id="rId40"/>
    <p:sldId id="306" r:id="rId41"/>
    <p:sldId id="2076138614" r:id="rId42"/>
    <p:sldId id="2076138613" r:id="rId43"/>
    <p:sldId id="2147470692" r:id="rId44"/>
    <p:sldId id="2076138606" r:id="rId45"/>
    <p:sldId id="2076138607" r:id="rId46"/>
    <p:sldId id="2076138615" r:id="rId47"/>
    <p:sldId id="2076138616" r:id="rId48"/>
    <p:sldId id="2076138617" r:id="rId49"/>
    <p:sldId id="2076138618" r:id="rId50"/>
    <p:sldId id="770" r:id="rId51"/>
    <p:sldId id="2076138578" r:id="rId52"/>
    <p:sldId id="772" r:id="rId53"/>
    <p:sldId id="771" r:id="rId54"/>
    <p:sldId id="773" r:id="rId55"/>
    <p:sldId id="2147470706" r:id="rId56"/>
    <p:sldId id="2076138634" r:id="rId57"/>
    <p:sldId id="2076138635" r:id="rId58"/>
    <p:sldId id="2076138621" r:id="rId59"/>
    <p:sldId id="2076138622" r:id="rId60"/>
    <p:sldId id="2076138636" r:id="rId61"/>
    <p:sldId id="2076138625" r:id="rId62"/>
    <p:sldId id="346" r:id="rId63"/>
    <p:sldId id="790" r:id="rId64"/>
    <p:sldId id="791" r:id="rId65"/>
    <p:sldId id="348" r:id="rId66"/>
    <p:sldId id="792" r:id="rId67"/>
    <p:sldId id="793" r:id="rId68"/>
    <p:sldId id="808" r:id="rId69"/>
    <p:sldId id="809" r:id="rId70"/>
    <p:sldId id="2076138626" r:id="rId71"/>
    <p:sldId id="2076138627" r:id="rId72"/>
    <p:sldId id="2076138629" r:id="rId73"/>
    <p:sldId id="2147470702" r:id="rId74"/>
    <p:sldId id="1763" r:id="rId75"/>
    <p:sldId id="2147470704" r:id="rId76"/>
    <p:sldId id="2147470685" r:id="rId77"/>
    <p:sldId id="2147470686" r:id="rId78"/>
    <p:sldId id="2147470691" r:id="rId79"/>
    <p:sldId id="2147470678" r:id="rId80"/>
    <p:sldId id="2147470679" r:id="rId81"/>
    <p:sldId id="2147470680" r:id="rId82"/>
    <p:sldId id="2147470681" r:id="rId83"/>
    <p:sldId id="2147470682" r:id="rId84"/>
    <p:sldId id="2147470683" r:id="rId85"/>
    <p:sldId id="2147470688" r:id="rId86"/>
    <p:sldId id="2147470684" r:id="rId87"/>
    <p:sldId id="2147470687" r:id="rId88"/>
    <p:sldId id="2076138630" r:id="rId89"/>
    <p:sldId id="2147470689" r:id="rId90"/>
    <p:sldId id="2147470690" r:id="rId91"/>
    <p:sldId id="389" r:id="rId92"/>
    <p:sldId id="2147470708" r:id="rId93"/>
    <p:sldId id="2147470709" r:id="rId94"/>
    <p:sldId id="2147470710" r:id="rId95"/>
    <p:sldId id="2076138637" r:id="rId96"/>
    <p:sldId id="2147470712" r:id="rId97"/>
    <p:sldId id="4865" r:id="rId98"/>
    <p:sldId id="4868" r:id="rId99"/>
    <p:sldId id="4864" r:id="rId100"/>
    <p:sldId id="2147470713" r:id="rId10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D97F4451-C65C-461E-AB21-C8FB2DD87269}">
          <p14:sldIdLst>
            <p14:sldId id="372"/>
            <p14:sldId id="2147470699"/>
            <p14:sldId id="2147470715"/>
            <p14:sldId id="2544"/>
          </p14:sldIdLst>
        </p14:section>
        <p14:section name="Module 1" id="{E8986394-891E-4BF8-9CD6-0FD6AE4332A5}">
          <p14:sldIdLst>
            <p14:sldId id="2147470694"/>
            <p14:sldId id="2147470693"/>
            <p14:sldId id="2147470676"/>
            <p14:sldId id="400"/>
            <p14:sldId id="2076138639"/>
            <p14:sldId id="2076138555"/>
            <p14:sldId id="2147470697"/>
            <p14:sldId id="2147470698"/>
            <p14:sldId id="1934"/>
            <p14:sldId id="1933"/>
            <p14:sldId id="2076138552"/>
            <p14:sldId id="2147470700"/>
            <p14:sldId id="2147470701"/>
            <p14:sldId id="2147470705"/>
            <p14:sldId id="2572"/>
            <p14:sldId id="2573"/>
            <p14:sldId id="2525"/>
            <p14:sldId id="2526"/>
            <p14:sldId id="2147470707"/>
          </p14:sldIdLst>
        </p14:section>
        <p14:section name="Module 2" id="{650F46BE-55FE-463F-9E8F-63758DF32E39}">
          <p14:sldIdLst>
            <p14:sldId id="2076138612"/>
            <p14:sldId id="2076138611"/>
            <p14:sldId id="292"/>
            <p14:sldId id="2548"/>
            <p14:sldId id="2147470674"/>
            <p14:sldId id="2147470673"/>
            <p14:sldId id="299"/>
            <p14:sldId id="300"/>
            <p14:sldId id="2147470677"/>
            <p14:sldId id="301"/>
            <p14:sldId id="2147470675"/>
            <p14:sldId id="303"/>
            <p14:sldId id="304"/>
            <p14:sldId id="305"/>
            <p14:sldId id="306"/>
            <p14:sldId id="2076138614"/>
            <p14:sldId id="2076138613"/>
            <p14:sldId id="2147470692"/>
            <p14:sldId id="2076138606"/>
            <p14:sldId id="2076138607"/>
          </p14:sldIdLst>
        </p14:section>
        <p14:section name="Module 3" id="{DED15886-5D4D-46FD-90BD-F4F7C33D2D2C}">
          <p14:sldIdLst>
            <p14:sldId id="2076138615"/>
            <p14:sldId id="2076138616"/>
            <p14:sldId id="2076138617"/>
            <p14:sldId id="2076138618"/>
            <p14:sldId id="770"/>
            <p14:sldId id="2076138578"/>
            <p14:sldId id="772"/>
            <p14:sldId id="771"/>
            <p14:sldId id="773"/>
            <p14:sldId id="2147470706"/>
            <p14:sldId id="2076138634"/>
            <p14:sldId id="2076138635"/>
            <p14:sldId id="2076138621"/>
            <p14:sldId id="2076138622"/>
          </p14:sldIdLst>
        </p14:section>
        <p14:section name="Module 4" id="{1A058B80-751B-4D24-BCD2-1B54AE868275}">
          <p14:sldIdLst>
            <p14:sldId id="2076138636"/>
            <p14:sldId id="2076138625"/>
            <p14:sldId id="346"/>
            <p14:sldId id="790"/>
            <p14:sldId id="791"/>
            <p14:sldId id="348"/>
            <p14:sldId id="792"/>
            <p14:sldId id="793"/>
            <p14:sldId id="808"/>
            <p14:sldId id="809"/>
            <p14:sldId id="2076138626"/>
            <p14:sldId id="2076138627"/>
            <p14:sldId id="2076138629"/>
          </p14:sldIdLst>
        </p14:section>
        <p14:section name="Module 5" id="{70F05C15-24DD-4F28-B483-A7CBF0481198}">
          <p14:sldIdLst>
            <p14:sldId id="2147470702"/>
            <p14:sldId id="1763"/>
            <p14:sldId id="2147470704"/>
          </p14:sldIdLst>
        </p14:section>
        <p14:section name="Module 6" id="{2E310BC0-4FDD-4A22-BAFA-B4CA2ECF1538}">
          <p14:sldIdLst>
            <p14:sldId id="2147470685"/>
            <p14:sldId id="2147470686"/>
            <p14:sldId id="2147470691"/>
            <p14:sldId id="2147470678"/>
            <p14:sldId id="2147470679"/>
            <p14:sldId id="2147470680"/>
            <p14:sldId id="2147470681"/>
            <p14:sldId id="2147470682"/>
            <p14:sldId id="2147470683"/>
            <p14:sldId id="2147470688"/>
            <p14:sldId id="2147470684"/>
            <p14:sldId id="2147470687"/>
          </p14:sldIdLst>
        </p14:section>
        <p14:section name="Module 7" id="{97C412C0-DDB8-4870-B068-01AAA2461467}">
          <p14:sldIdLst>
            <p14:sldId id="2076138630"/>
            <p14:sldId id="2147470689"/>
            <p14:sldId id="2147470690"/>
            <p14:sldId id="389"/>
            <p14:sldId id="2147470708"/>
            <p14:sldId id="2147470709"/>
            <p14:sldId id="2147470710"/>
            <p14:sldId id="2076138637"/>
          </p14:sldIdLst>
        </p14:section>
        <p14:section name="Module 8" id="{9E210142-0C9C-4575-BCA3-CDA15A413995}">
          <p14:sldIdLst>
            <p14:sldId id="2147470712"/>
            <p14:sldId id="4865"/>
            <p14:sldId id="4868"/>
            <p14:sldId id="4864"/>
            <p14:sldId id="214747071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5496"/>
    <a:srgbClr val="B43C14"/>
    <a:srgbClr val="890078"/>
    <a:srgbClr val="970032"/>
    <a:srgbClr val="C80000"/>
    <a:srgbClr val="FFB414"/>
    <a:srgbClr val="FF5800"/>
    <a:srgbClr val="D9D9D9"/>
    <a:srgbClr val="FFD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27E326D-0C4C-4E15-B430-E0318092A760}" v="16" dt="2023-02-02T11:04:46.17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701" autoAdjust="0"/>
    <p:restoredTop sz="97386" autoAdjust="0"/>
  </p:normalViewPr>
  <p:slideViewPr>
    <p:cSldViewPr snapToGrid="0">
      <p:cViewPr varScale="1">
        <p:scale>
          <a:sx n="159" d="100"/>
          <a:sy n="159" d="100"/>
        </p:scale>
        <p:origin x="198" y="138"/>
      </p:cViewPr>
      <p:guideLst>
        <p:guide orient="horz" pos="2183"/>
        <p:guide pos="3840"/>
      </p:guideLst>
    </p:cSldViewPr>
  </p:slideViewPr>
  <p:outlineViewPr>
    <p:cViewPr>
      <p:scale>
        <a:sx n="33" d="100"/>
        <a:sy n="33" d="100"/>
      </p:scale>
      <p:origin x="0" y="-14622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  <p:sld r:id="rId10" collapse="1"/>
      <p:sld r:id="rId11" collapse="1"/>
      <p:sld r:id="rId12" collapse="1"/>
      <p:sld r:id="rId13" collapse="1"/>
      <p:sld r:id="rId14" collapse="1"/>
      <p:sld r:id="rId15" collapse="1"/>
      <p:sld r:id="rId16" collapse="1"/>
      <p:sld r:id="rId17" collapse="1"/>
      <p:sld r:id="rId18" collapse="1"/>
      <p:sld r:id="rId19" collapse="1"/>
      <p:sld r:id="rId20" collapse="1"/>
      <p:sld r:id="rId21" collapse="1"/>
      <p:sld r:id="rId22" collapse="1"/>
      <p:sld r:id="rId23" collapse="1"/>
      <p:sld r:id="rId24" collapse="1"/>
      <p:sld r:id="rId25" collapse="1"/>
      <p:sld r:id="rId26" collapse="1"/>
      <p:sld r:id="rId27" collapse="1"/>
      <p:sld r:id="rId28" collapse="1"/>
      <p:sld r:id="rId29" collapse="1"/>
      <p:sld r:id="rId30" collapse="1"/>
      <p:sld r:id="rId31" collapse="1"/>
      <p:sld r:id="rId32" collapse="1"/>
      <p:sld r:id="rId33" collapse="1"/>
      <p:sld r:id="rId34" collapse="1"/>
      <p:sld r:id="rId35" collapse="1"/>
      <p:sld r:id="rId36" collapse="1"/>
      <p:sld r:id="rId37" collapse="1"/>
      <p:sld r:id="rId38" collapse="1"/>
      <p:sld r:id="rId39" collapse="1"/>
      <p:sld r:id="rId40" collapse="1"/>
      <p:sld r:id="rId41" collapse="1"/>
      <p:sld r:id="rId42" collapse="1"/>
      <p:sld r:id="rId43" collapse="1"/>
      <p:sld r:id="rId44" collapse="1"/>
      <p:sld r:id="rId45" collapse="1"/>
      <p:sld r:id="rId46" collapse="1"/>
      <p:sld r:id="rId47" collapse="1"/>
      <p:sld r:id="rId48" collapse="1"/>
      <p:sld r:id="rId49" collapse="1"/>
      <p:sld r:id="rId50" collapse="1"/>
      <p:sld r:id="rId51" collapse="1"/>
      <p:sld r:id="rId52" collapse="1"/>
      <p:sld r:id="rId53" collapse="1"/>
      <p:sld r:id="rId54" collapse="1"/>
      <p:sld r:id="rId55" collapse="1"/>
      <p:sld r:id="rId56" collapse="1"/>
      <p:sld r:id="rId57" collapse="1"/>
      <p:sld r:id="rId58" collapse="1"/>
      <p:sld r:id="rId59" collapse="1"/>
      <p:sld r:id="rId60" collapse="1"/>
      <p:sld r:id="rId61" collapse="1"/>
      <p:sld r:id="rId62" collapse="1"/>
      <p:sld r:id="rId63" collapse="1"/>
      <p:sld r:id="rId64" collapse="1"/>
      <p:sld r:id="rId65" collapse="1"/>
      <p:sld r:id="rId66" collapse="1"/>
      <p:sld r:id="rId67" collapse="1"/>
      <p:sld r:id="rId68" collapse="1"/>
      <p:sld r:id="rId69" collapse="1"/>
      <p:sld r:id="rId70" collapse="1"/>
      <p:sld r:id="rId71" collapse="1"/>
      <p:sld r:id="rId72" collapse="1"/>
      <p:sld r:id="rId73" collapse="1"/>
      <p:sld r:id="rId74" collapse="1"/>
      <p:sld r:id="rId75" collapse="1"/>
      <p:sld r:id="rId76" collapse="1"/>
      <p:sld r:id="rId77" collapse="1"/>
      <p:sld r:id="rId78" collapse="1"/>
      <p:sld r:id="rId79" collapse="1"/>
      <p:sld r:id="rId80" collapse="1"/>
      <p:sld r:id="rId81" collapse="1"/>
      <p:sld r:id="rId82" collapse="1"/>
      <p:sld r:id="rId83" collapse="1"/>
      <p:sld r:id="rId84" collapse="1"/>
      <p:sld r:id="rId85" collapse="1"/>
      <p:sld r:id="rId86" collapse="1"/>
      <p:sld r:id="rId87" collapse="1"/>
      <p:sld r:id="rId88" collapse="1"/>
    </p:sldLst>
  </p:outlineViewPr>
  <p:notesTextViewPr>
    <p:cViewPr>
      <p:scale>
        <a:sx n="125" d="100"/>
        <a:sy n="12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slide" Target="slides/slide60.xml"/><Relationship Id="rId68" Type="http://schemas.openxmlformats.org/officeDocument/2006/relationships/slide" Target="slides/slide65.xml"/><Relationship Id="rId84" Type="http://schemas.openxmlformats.org/officeDocument/2006/relationships/slide" Target="slides/slide81.xml"/><Relationship Id="rId89" Type="http://schemas.openxmlformats.org/officeDocument/2006/relationships/slide" Target="slides/slide86.xml"/><Relationship Id="rId16" Type="http://schemas.openxmlformats.org/officeDocument/2006/relationships/slide" Target="slides/slide13.xml"/><Relationship Id="rId107" Type="http://schemas.microsoft.com/office/2015/10/relationships/revisionInfo" Target="revisionInfo.xml"/><Relationship Id="rId11" Type="http://schemas.openxmlformats.org/officeDocument/2006/relationships/slide" Target="slides/slide8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74" Type="http://schemas.openxmlformats.org/officeDocument/2006/relationships/slide" Target="slides/slide71.xml"/><Relationship Id="rId79" Type="http://schemas.openxmlformats.org/officeDocument/2006/relationships/slide" Target="slides/slide76.xml"/><Relationship Id="rId102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90" Type="http://schemas.openxmlformats.org/officeDocument/2006/relationships/slide" Target="slides/slide87.xml"/><Relationship Id="rId95" Type="http://schemas.openxmlformats.org/officeDocument/2006/relationships/slide" Target="slides/slide92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64" Type="http://schemas.openxmlformats.org/officeDocument/2006/relationships/slide" Target="slides/slide61.xml"/><Relationship Id="rId69" Type="http://schemas.openxmlformats.org/officeDocument/2006/relationships/slide" Target="slides/slide66.xml"/><Relationship Id="rId80" Type="http://schemas.openxmlformats.org/officeDocument/2006/relationships/slide" Target="slides/slide77.xml"/><Relationship Id="rId85" Type="http://schemas.openxmlformats.org/officeDocument/2006/relationships/slide" Target="slides/slide82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59" Type="http://schemas.openxmlformats.org/officeDocument/2006/relationships/slide" Target="slides/slide56.xml"/><Relationship Id="rId103" Type="http://schemas.openxmlformats.org/officeDocument/2006/relationships/presProps" Target="presProps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slide" Target="slides/slide67.xml"/><Relationship Id="rId75" Type="http://schemas.openxmlformats.org/officeDocument/2006/relationships/slide" Target="slides/slide72.xml"/><Relationship Id="rId83" Type="http://schemas.openxmlformats.org/officeDocument/2006/relationships/slide" Target="slides/slide80.xml"/><Relationship Id="rId88" Type="http://schemas.openxmlformats.org/officeDocument/2006/relationships/slide" Target="slides/slide85.xml"/><Relationship Id="rId91" Type="http://schemas.openxmlformats.org/officeDocument/2006/relationships/slide" Target="slides/slide88.xml"/><Relationship Id="rId96" Type="http://schemas.openxmlformats.org/officeDocument/2006/relationships/slide" Target="slides/slide9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6" Type="http://schemas.openxmlformats.org/officeDocument/2006/relationships/tableStyles" Target="tableStyles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73" Type="http://schemas.openxmlformats.org/officeDocument/2006/relationships/slide" Target="slides/slide70.xml"/><Relationship Id="rId78" Type="http://schemas.openxmlformats.org/officeDocument/2006/relationships/slide" Target="slides/slide75.xml"/><Relationship Id="rId81" Type="http://schemas.openxmlformats.org/officeDocument/2006/relationships/slide" Target="slides/slide78.xml"/><Relationship Id="rId86" Type="http://schemas.openxmlformats.org/officeDocument/2006/relationships/slide" Target="slides/slide83.xml"/><Relationship Id="rId94" Type="http://schemas.openxmlformats.org/officeDocument/2006/relationships/slide" Target="slides/slide91.xml"/><Relationship Id="rId99" Type="http://schemas.openxmlformats.org/officeDocument/2006/relationships/slide" Target="slides/slide96.xml"/><Relationship Id="rId101" Type="http://schemas.openxmlformats.org/officeDocument/2006/relationships/slide" Target="slides/slide9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6" Type="http://schemas.openxmlformats.org/officeDocument/2006/relationships/slide" Target="slides/slide73.xml"/><Relationship Id="rId97" Type="http://schemas.openxmlformats.org/officeDocument/2006/relationships/slide" Target="slides/slide94.xml"/><Relationship Id="rId104" Type="http://schemas.openxmlformats.org/officeDocument/2006/relationships/viewProps" Target="viewProps.xml"/><Relationship Id="rId7" Type="http://schemas.openxmlformats.org/officeDocument/2006/relationships/slide" Target="slides/slide4.xml"/><Relationship Id="rId71" Type="http://schemas.openxmlformats.org/officeDocument/2006/relationships/slide" Target="slides/slide68.xml"/><Relationship Id="rId92" Type="http://schemas.openxmlformats.org/officeDocument/2006/relationships/slide" Target="slides/slide89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6.xml"/><Relationship Id="rId24" Type="http://schemas.openxmlformats.org/officeDocument/2006/relationships/slide" Target="slides/slide21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66" Type="http://schemas.openxmlformats.org/officeDocument/2006/relationships/slide" Target="slides/slide63.xml"/><Relationship Id="rId87" Type="http://schemas.openxmlformats.org/officeDocument/2006/relationships/slide" Target="slides/slide84.xml"/><Relationship Id="rId61" Type="http://schemas.openxmlformats.org/officeDocument/2006/relationships/slide" Target="slides/slide58.xml"/><Relationship Id="rId82" Type="http://schemas.openxmlformats.org/officeDocument/2006/relationships/slide" Target="slides/slide79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56" Type="http://schemas.openxmlformats.org/officeDocument/2006/relationships/slide" Target="slides/slide53.xml"/><Relationship Id="rId77" Type="http://schemas.openxmlformats.org/officeDocument/2006/relationships/slide" Target="slides/slide74.xml"/><Relationship Id="rId100" Type="http://schemas.openxmlformats.org/officeDocument/2006/relationships/slide" Target="slides/slide97.xml"/><Relationship Id="rId105" Type="http://schemas.openxmlformats.org/officeDocument/2006/relationships/theme" Target="theme/theme1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slide" Target="slides/slide69.xml"/><Relationship Id="rId93" Type="http://schemas.openxmlformats.org/officeDocument/2006/relationships/slide" Target="slides/slide90.xml"/><Relationship Id="rId98" Type="http://schemas.openxmlformats.org/officeDocument/2006/relationships/slide" Target="slides/slide95.xml"/><Relationship Id="rId3" Type="http://schemas.openxmlformats.org/officeDocument/2006/relationships/slideMaster" Target="slideMasters/slideMaster3.xml"/><Relationship Id="rId25" Type="http://schemas.openxmlformats.org/officeDocument/2006/relationships/slide" Target="slides/slide22.xml"/><Relationship Id="rId46" Type="http://schemas.openxmlformats.org/officeDocument/2006/relationships/slide" Target="slides/slide43.xml"/><Relationship Id="rId67" Type="http://schemas.openxmlformats.org/officeDocument/2006/relationships/slide" Target="slides/slide64.xml"/></Relationships>
</file>

<file path=ppt/_rels/viewProps.xml.rels><?xml version="1.0" encoding="UTF-8" standalone="yes"?>
<Relationships xmlns="http://schemas.openxmlformats.org/package/2006/relationships"><Relationship Id="rId26" Type="http://schemas.openxmlformats.org/officeDocument/2006/relationships/slide" Target="slides/slide32.xml"/><Relationship Id="rId21" Type="http://schemas.openxmlformats.org/officeDocument/2006/relationships/slide" Target="slides/slide27.xml"/><Relationship Id="rId42" Type="http://schemas.openxmlformats.org/officeDocument/2006/relationships/slide" Target="slides/slide48.xml"/><Relationship Id="rId47" Type="http://schemas.openxmlformats.org/officeDocument/2006/relationships/slide" Target="slides/slide53.xml"/><Relationship Id="rId63" Type="http://schemas.openxmlformats.org/officeDocument/2006/relationships/slide" Target="slides/slide69.xml"/><Relationship Id="rId68" Type="http://schemas.openxmlformats.org/officeDocument/2006/relationships/slide" Target="slides/slide74.xml"/><Relationship Id="rId84" Type="http://schemas.openxmlformats.org/officeDocument/2006/relationships/slide" Target="slides/slide90.xml"/><Relationship Id="rId16" Type="http://schemas.openxmlformats.org/officeDocument/2006/relationships/slide" Target="slides/slide18.xml"/><Relationship Id="rId11" Type="http://schemas.openxmlformats.org/officeDocument/2006/relationships/slide" Target="slides/slide13.xml"/><Relationship Id="rId32" Type="http://schemas.openxmlformats.org/officeDocument/2006/relationships/slide" Target="slides/slide38.xml"/><Relationship Id="rId37" Type="http://schemas.openxmlformats.org/officeDocument/2006/relationships/slide" Target="slides/slide43.xml"/><Relationship Id="rId53" Type="http://schemas.openxmlformats.org/officeDocument/2006/relationships/slide" Target="slides/slide59.xml"/><Relationship Id="rId58" Type="http://schemas.openxmlformats.org/officeDocument/2006/relationships/slide" Target="slides/slide64.xml"/><Relationship Id="rId74" Type="http://schemas.openxmlformats.org/officeDocument/2006/relationships/slide" Target="slides/slide80.xml"/><Relationship Id="rId79" Type="http://schemas.openxmlformats.org/officeDocument/2006/relationships/slide" Target="slides/slide85.xml"/><Relationship Id="rId5" Type="http://schemas.openxmlformats.org/officeDocument/2006/relationships/slide" Target="slides/slide7.xml"/><Relationship Id="rId19" Type="http://schemas.openxmlformats.org/officeDocument/2006/relationships/slide" Target="slides/slide25.xml"/><Relationship Id="rId14" Type="http://schemas.openxmlformats.org/officeDocument/2006/relationships/slide" Target="slides/slide16.xml"/><Relationship Id="rId22" Type="http://schemas.openxmlformats.org/officeDocument/2006/relationships/slide" Target="slides/slide28.xml"/><Relationship Id="rId27" Type="http://schemas.openxmlformats.org/officeDocument/2006/relationships/slide" Target="slides/slide33.xml"/><Relationship Id="rId30" Type="http://schemas.openxmlformats.org/officeDocument/2006/relationships/slide" Target="slides/slide36.xml"/><Relationship Id="rId35" Type="http://schemas.openxmlformats.org/officeDocument/2006/relationships/slide" Target="slides/slide41.xml"/><Relationship Id="rId43" Type="http://schemas.openxmlformats.org/officeDocument/2006/relationships/slide" Target="slides/slide49.xml"/><Relationship Id="rId48" Type="http://schemas.openxmlformats.org/officeDocument/2006/relationships/slide" Target="slides/slide54.xml"/><Relationship Id="rId56" Type="http://schemas.openxmlformats.org/officeDocument/2006/relationships/slide" Target="slides/slide62.xml"/><Relationship Id="rId64" Type="http://schemas.openxmlformats.org/officeDocument/2006/relationships/slide" Target="slides/slide70.xml"/><Relationship Id="rId69" Type="http://schemas.openxmlformats.org/officeDocument/2006/relationships/slide" Target="slides/slide75.xml"/><Relationship Id="rId77" Type="http://schemas.openxmlformats.org/officeDocument/2006/relationships/slide" Target="slides/slide83.xml"/><Relationship Id="rId8" Type="http://schemas.openxmlformats.org/officeDocument/2006/relationships/slide" Target="slides/slide10.xml"/><Relationship Id="rId51" Type="http://schemas.openxmlformats.org/officeDocument/2006/relationships/slide" Target="slides/slide57.xml"/><Relationship Id="rId72" Type="http://schemas.openxmlformats.org/officeDocument/2006/relationships/slide" Target="slides/slide78.xml"/><Relationship Id="rId80" Type="http://schemas.openxmlformats.org/officeDocument/2006/relationships/slide" Target="slides/slide86.xml"/><Relationship Id="rId85" Type="http://schemas.openxmlformats.org/officeDocument/2006/relationships/slide" Target="slides/slide91.xml"/><Relationship Id="rId3" Type="http://schemas.openxmlformats.org/officeDocument/2006/relationships/slide" Target="slides/slide5.xml"/><Relationship Id="rId12" Type="http://schemas.openxmlformats.org/officeDocument/2006/relationships/slide" Target="slides/slide14.xml"/><Relationship Id="rId17" Type="http://schemas.openxmlformats.org/officeDocument/2006/relationships/slide" Target="slides/slide23.xml"/><Relationship Id="rId25" Type="http://schemas.openxmlformats.org/officeDocument/2006/relationships/slide" Target="slides/slide31.xml"/><Relationship Id="rId33" Type="http://schemas.openxmlformats.org/officeDocument/2006/relationships/slide" Target="slides/slide39.xml"/><Relationship Id="rId38" Type="http://schemas.openxmlformats.org/officeDocument/2006/relationships/slide" Target="slides/slide44.xml"/><Relationship Id="rId46" Type="http://schemas.openxmlformats.org/officeDocument/2006/relationships/slide" Target="slides/slide52.xml"/><Relationship Id="rId59" Type="http://schemas.openxmlformats.org/officeDocument/2006/relationships/slide" Target="slides/slide65.xml"/><Relationship Id="rId67" Type="http://schemas.openxmlformats.org/officeDocument/2006/relationships/slide" Target="slides/slide73.xml"/><Relationship Id="rId20" Type="http://schemas.openxmlformats.org/officeDocument/2006/relationships/slide" Target="slides/slide26.xml"/><Relationship Id="rId41" Type="http://schemas.openxmlformats.org/officeDocument/2006/relationships/slide" Target="slides/slide47.xml"/><Relationship Id="rId54" Type="http://schemas.openxmlformats.org/officeDocument/2006/relationships/slide" Target="slides/slide60.xml"/><Relationship Id="rId62" Type="http://schemas.openxmlformats.org/officeDocument/2006/relationships/slide" Target="slides/slide68.xml"/><Relationship Id="rId70" Type="http://schemas.openxmlformats.org/officeDocument/2006/relationships/slide" Target="slides/slide76.xml"/><Relationship Id="rId75" Type="http://schemas.openxmlformats.org/officeDocument/2006/relationships/slide" Target="slides/slide81.xml"/><Relationship Id="rId83" Type="http://schemas.openxmlformats.org/officeDocument/2006/relationships/slide" Target="slides/slide89.xml"/><Relationship Id="rId88" Type="http://schemas.openxmlformats.org/officeDocument/2006/relationships/slide" Target="slides/slide94.xml"/><Relationship Id="rId1" Type="http://schemas.openxmlformats.org/officeDocument/2006/relationships/slide" Target="slides/slide1.xml"/><Relationship Id="rId6" Type="http://schemas.openxmlformats.org/officeDocument/2006/relationships/slide" Target="slides/slide8.xml"/><Relationship Id="rId15" Type="http://schemas.openxmlformats.org/officeDocument/2006/relationships/slide" Target="slides/slide17.xml"/><Relationship Id="rId23" Type="http://schemas.openxmlformats.org/officeDocument/2006/relationships/slide" Target="slides/slide29.xml"/><Relationship Id="rId28" Type="http://schemas.openxmlformats.org/officeDocument/2006/relationships/slide" Target="slides/slide34.xml"/><Relationship Id="rId36" Type="http://schemas.openxmlformats.org/officeDocument/2006/relationships/slide" Target="slides/slide42.xml"/><Relationship Id="rId49" Type="http://schemas.openxmlformats.org/officeDocument/2006/relationships/slide" Target="slides/slide55.xml"/><Relationship Id="rId57" Type="http://schemas.openxmlformats.org/officeDocument/2006/relationships/slide" Target="slides/slide63.xml"/><Relationship Id="rId10" Type="http://schemas.openxmlformats.org/officeDocument/2006/relationships/slide" Target="slides/slide12.xml"/><Relationship Id="rId31" Type="http://schemas.openxmlformats.org/officeDocument/2006/relationships/slide" Target="slides/slide37.xml"/><Relationship Id="rId44" Type="http://schemas.openxmlformats.org/officeDocument/2006/relationships/slide" Target="slides/slide50.xml"/><Relationship Id="rId52" Type="http://schemas.openxmlformats.org/officeDocument/2006/relationships/slide" Target="slides/slide58.xml"/><Relationship Id="rId60" Type="http://schemas.openxmlformats.org/officeDocument/2006/relationships/slide" Target="slides/slide66.xml"/><Relationship Id="rId65" Type="http://schemas.openxmlformats.org/officeDocument/2006/relationships/slide" Target="slides/slide71.xml"/><Relationship Id="rId73" Type="http://schemas.openxmlformats.org/officeDocument/2006/relationships/slide" Target="slides/slide79.xml"/><Relationship Id="rId78" Type="http://schemas.openxmlformats.org/officeDocument/2006/relationships/slide" Target="slides/slide84.xml"/><Relationship Id="rId81" Type="http://schemas.openxmlformats.org/officeDocument/2006/relationships/slide" Target="slides/slide87.xml"/><Relationship Id="rId86" Type="http://schemas.openxmlformats.org/officeDocument/2006/relationships/slide" Target="slides/slide92.xml"/><Relationship Id="rId4" Type="http://schemas.openxmlformats.org/officeDocument/2006/relationships/slide" Target="slides/slide6.xml"/><Relationship Id="rId9" Type="http://schemas.openxmlformats.org/officeDocument/2006/relationships/slide" Target="slides/slide11.xml"/><Relationship Id="rId13" Type="http://schemas.openxmlformats.org/officeDocument/2006/relationships/slide" Target="slides/slide15.xml"/><Relationship Id="rId18" Type="http://schemas.openxmlformats.org/officeDocument/2006/relationships/slide" Target="slides/slide24.xml"/><Relationship Id="rId39" Type="http://schemas.openxmlformats.org/officeDocument/2006/relationships/slide" Target="slides/slide45.xml"/><Relationship Id="rId34" Type="http://schemas.openxmlformats.org/officeDocument/2006/relationships/slide" Target="slides/slide40.xml"/><Relationship Id="rId50" Type="http://schemas.openxmlformats.org/officeDocument/2006/relationships/slide" Target="slides/slide56.xml"/><Relationship Id="rId55" Type="http://schemas.openxmlformats.org/officeDocument/2006/relationships/slide" Target="slides/slide61.xml"/><Relationship Id="rId76" Type="http://schemas.openxmlformats.org/officeDocument/2006/relationships/slide" Target="slides/slide82.xml"/><Relationship Id="rId7" Type="http://schemas.openxmlformats.org/officeDocument/2006/relationships/slide" Target="slides/slide9.xml"/><Relationship Id="rId71" Type="http://schemas.openxmlformats.org/officeDocument/2006/relationships/slide" Target="slides/slide77.xml"/><Relationship Id="rId2" Type="http://schemas.openxmlformats.org/officeDocument/2006/relationships/slide" Target="slides/slide2.xml"/><Relationship Id="rId29" Type="http://schemas.openxmlformats.org/officeDocument/2006/relationships/slide" Target="slides/slide35.xml"/><Relationship Id="rId24" Type="http://schemas.openxmlformats.org/officeDocument/2006/relationships/slide" Target="slides/slide30.xml"/><Relationship Id="rId40" Type="http://schemas.openxmlformats.org/officeDocument/2006/relationships/slide" Target="slides/slide46.xml"/><Relationship Id="rId45" Type="http://schemas.openxmlformats.org/officeDocument/2006/relationships/slide" Target="slides/slide51.xml"/><Relationship Id="rId66" Type="http://schemas.openxmlformats.org/officeDocument/2006/relationships/slide" Target="slides/slide72.xml"/><Relationship Id="rId87" Type="http://schemas.openxmlformats.org/officeDocument/2006/relationships/slide" Target="slides/slide93.xml"/><Relationship Id="rId61" Type="http://schemas.openxmlformats.org/officeDocument/2006/relationships/slide" Target="slides/slide67.xml"/><Relationship Id="rId82" Type="http://schemas.openxmlformats.org/officeDocument/2006/relationships/slide" Target="slides/slide8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B756D-E718-4D6A-9F21-294070360D7A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34A9331-A92F-4513-9007-D99C9E7D2EF9}">
      <dgm:prSet phldrT="[Text]" custT="1"/>
      <dgm:spPr>
        <a:xfrm>
          <a:off x="2342474" y="223656"/>
          <a:ext cx="1935561" cy="967780"/>
        </a:xfrm>
        <a:prstGeom prst="rect">
          <a:avLst/>
        </a:prstGeom>
        <a:solidFill>
          <a:srgbClr val="F2C812"/>
        </a:solidFill>
        <a:ln w="10795" cap="flat" cmpd="sng" algn="ctr">
          <a:solidFill>
            <a:srgbClr val="F2C812"/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2400" b="1" kern="1200" dirty="0">
              <a:gradFill>
                <a:gsLst>
                  <a:gs pos="1250">
                    <a:sysClr val="windowText" lastClr="000000"/>
                  </a:gs>
                  <a:gs pos="100000">
                    <a:sysClr val="windowText" lastClr="000000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rPr>
            <a:t>Type of Data Models</a:t>
          </a:r>
        </a:p>
      </dgm:t>
    </dgm:pt>
    <dgm:pt modelId="{9B6E136E-FF6A-4DE3-B604-B5A737DC4ED0}" type="parTrans" cxnId="{F9ED7BA6-2492-4A89-9D2F-AEA7A2B6488C}">
      <dgm:prSet/>
      <dgm:spPr/>
      <dgm:t>
        <a:bodyPr/>
        <a:lstStyle/>
        <a:p>
          <a:endParaRPr lang="en-US"/>
        </a:p>
      </dgm:t>
    </dgm:pt>
    <dgm:pt modelId="{C71A0F44-1FC1-4CA1-BE50-54C52426A59F}" type="sibTrans" cxnId="{F9ED7BA6-2492-4A89-9D2F-AEA7A2B6488C}">
      <dgm:prSet/>
      <dgm:spPr/>
      <dgm:t>
        <a:bodyPr/>
        <a:lstStyle/>
        <a:p>
          <a:endParaRPr lang="en-US"/>
        </a:p>
      </dgm:t>
    </dgm:pt>
    <dgm:pt modelId="{BB9B4AC5-47B3-457D-BB69-7468E5099709}">
      <dgm:prSet phldrT="[Text]" custT="1"/>
      <dgm:spPr>
        <a:xfrm>
          <a:off x="2342474" y="1597905"/>
          <a:ext cx="1935561" cy="967780"/>
        </a:xfrm>
        <a:prstGeom prst="rect">
          <a:avLst/>
        </a:prstGeom>
        <a:solidFill>
          <a:srgbClr val="F2C812"/>
        </a:solidFill>
        <a:ln w="10795" cap="flat" cmpd="sng" algn="ctr">
          <a:solidFill>
            <a:srgbClr val="F2C812"/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2000" b="1" kern="1200" dirty="0">
              <a:gradFill>
                <a:gsLst>
                  <a:gs pos="1250">
                    <a:sysClr val="windowText" lastClr="000000"/>
                  </a:gs>
                  <a:gs pos="100000">
                    <a:sysClr val="windowText" lastClr="000000"/>
                  </a:gs>
                </a:gsLst>
                <a:lin ang="5400000" scaled="0"/>
              </a:gradFill>
              <a:latin typeface="Segoe UI Light"/>
              <a:ea typeface="+mn-ea"/>
              <a:cs typeface="+mn-cs"/>
            </a:rPr>
            <a:t>Star Schema</a:t>
          </a:r>
        </a:p>
      </dgm:t>
    </dgm:pt>
    <dgm:pt modelId="{7F732736-2904-42B9-B318-72FE90596ABA}" type="parTrans" cxnId="{F860B2D4-6860-4B3E-8D30-D863D1FC84E8}">
      <dgm:prSet/>
      <dgm:spPr>
        <a:xfrm>
          <a:off x="3264535" y="1191437"/>
          <a:ext cx="91440" cy="40646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06467"/>
              </a:lnTo>
            </a:path>
          </a:pathLst>
        </a:custGeom>
        <a:noFill/>
        <a:ln w="10795" cap="flat" cmpd="sng" algn="ctr">
          <a:solidFill>
            <a:srgbClr val="DDDDD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E7DF482E-1F81-4940-A8D9-36B5BE80545C}" type="sibTrans" cxnId="{F860B2D4-6860-4B3E-8D30-D863D1FC84E8}">
      <dgm:prSet/>
      <dgm:spPr/>
      <dgm:t>
        <a:bodyPr/>
        <a:lstStyle/>
        <a:p>
          <a:endParaRPr lang="en-US"/>
        </a:p>
      </dgm:t>
    </dgm:pt>
    <dgm:pt modelId="{A2EBAE6F-F38F-4948-8518-B927DC8515E5}">
      <dgm:prSet phldrT="[Text]" custT="1"/>
      <dgm:spPr>
        <a:xfrm>
          <a:off x="4684503" y="1597905"/>
          <a:ext cx="1935561" cy="967780"/>
        </a:xfrm>
        <a:prstGeom prst="rect">
          <a:avLst/>
        </a:prstGeom>
        <a:solidFill>
          <a:srgbClr val="F2C812"/>
        </a:solidFill>
        <a:ln w="10795" cap="flat" cmpd="sng" algn="ctr">
          <a:solidFill>
            <a:srgbClr val="F2C812"/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2000" b="1" kern="1200" dirty="0">
              <a:gradFill>
                <a:gsLst>
                  <a:gs pos="1250">
                    <a:sysClr val="windowText" lastClr="000000"/>
                  </a:gs>
                  <a:gs pos="100000">
                    <a:sysClr val="windowText" lastClr="000000"/>
                  </a:gs>
                </a:gsLst>
                <a:lin ang="5400000" scaled="0"/>
              </a:gradFill>
              <a:latin typeface="Segoe UI Light"/>
              <a:ea typeface="+mn-ea"/>
              <a:cs typeface="+mn-cs"/>
            </a:rPr>
            <a:t>Snowflake Schema</a:t>
          </a:r>
        </a:p>
      </dgm:t>
    </dgm:pt>
    <dgm:pt modelId="{6599A0B5-E77F-4A55-88E0-41EC8327559B}" type="parTrans" cxnId="{F0CDA7C1-E34A-4E48-9502-A099319FC0FF}">
      <dgm:prSet/>
      <dgm:spPr>
        <a:xfrm>
          <a:off x="3310255" y="1191437"/>
          <a:ext cx="2342029" cy="40646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3233"/>
              </a:lnTo>
              <a:lnTo>
                <a:pt x="2342029" y="203233"/>
              </a:lnTo>
              <a:lnTo>
                <a:pt x="2342029" y="406467"/>
              </a:lnTo>
            </a:path>
          </a:pathLst>
        </a:custGeom>
        <a:noFill/>
        <a:ln w="10795" cap="flat" cmpd="sng" algn="ctr">
          <a:solidFill>
            <a:srgbClr val="DDDDD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C4F6E6E2-35BA-4164-97DB-575D72534CBE}" type="sibTrans" cxnId="{F0CDA7C1-E34A-4E48-9502-A099319FC0FF}">
      <dgm:prSet/>
      <dgm:spPr/>
      <dgm:t>
        <a:bodyPr/>
        <a:lstStyle/>
        <a:p>
          <a:endParaRPr lang="en-US"/>
        </a:p>
      </dgm:t>
    </dgm:pt>
    <dgm:pt modelId="{56ADF28A-7958-4E36-A37F-D60AF6A2C4CE}">
      <dgm:prSet custT="1"/>
      <dgm:spPr>
        <a:xfrm>
          <a:off x="444" y="1597905"/>
          <a:ext cx="1935561" cy="967780"/>
        </a:xfrm>
        <a:prstGeom prst="rect">
          <a:avLst/>
        </a:prstGeom>
        <a:solidFill>
          <a:srgbClr val="F2C812"/>
        </a:solidFill>
        <a:ln w="10795" cap="flat" cmpd="sng" algn="ctr">
          <a:solidFill>
            <a:srgbClr val="F2C812"/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2000" b="1" kern="1200" dirty="0">
              <a:gradFill>
                <a:gsLst>
                  <a:gs pos="1250">
                    <a:sysClr val="windowText" lastClr="000000"/>
                  </a:gs>
                  <a:gs pos="100000">
                    <a:sysClr val="windowText" lastClr="000000"/>
                  </a:gs>
                </a:gsLst>
                <a:lin ang="5400000" scaled="0"/>
              </a:gradFill>
              <a:latin typeface="Segoe UI Light"/>
              <a:ea typeface="+mn-ea"/>
              <a:cs typeface="+mn-cs"/>
            </a:rPr>
            <a:t>Flat or Denormalized</a:t>
          </a:r>
        </a:p>
      </dgm:t>
    </dgm:pt>
    <dgm:pt modelId="{DEE5D828-CC78-425A-B8EC-965D1D755029}" type="parTrans" cxnId="{DC32E4A7-C611-4688-B2B1-F8D73D0ACC13}">
      <dgm:prSet/>
      <dgm:spPr>
        <a:xfrm>
          <a:off x="968225" y="1191437"/>
          <a:ext cx="2342029" cy="406467"/>
        </a:xfrm>
        <a:custGeom>
          <a:avLst/>
          <a:gdLst/>
          <a:ahLst/>
          <a:cxnLst/>
          <a:rect l="0" t="0" r="0" b="0"/>
          <a:pathLst>
            <a:path>
              <a:moveTo>
                <a:pt x="2342029" y="0"/>
              </a:moveTo>
              <a:lnTo>
                <a:pt x="2342029" y="203233"/>
              </a:lnTo>
              <a:lnTo>
                <a:pt x="0" y="203233"/>
              </a:lnTo>
              <a:lnTo>
                <a:pt x="0" y="406467"/>
              </a:lnTo>
            </a:path>
          </a:pathLst>
        </a:custGeom>
        <a:noFill/>
        <a:ln w="10795" cap="flat" cmpd="sng" algn="ctr">
          <a:solidFill>
            <a:srgbClr val="DDDDD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FFF46AC0-F6B1-45B1-8C68-B6D348FCB796}" type="sibTrans" cxnId="{DC32E4A7-C611-4688-B2B1-F8D73D0ACC13}">
      <dgm:prSet/>
      <dgm:spPr/>
      <dgm:t>
        <a:bodyPr/>
        <a:lstStyle/>
        <a:p>
          <a:endParaRPr lang="en-US"/>
        </a:p>
      </dgm:t>
    </dgm:pt>
    <dgm:pt modelId="{C8FE54B0-10DF-47CC-AF85-0F2B2463B6E2}" type="pres">
      <dgm:prSet presAssocID="{C05B756D-E718-4D6A-9F21-294070360D7A}" presName="hierChild1" presStyleCnt="0">
        <dgm:presLayoutVars>
          <dgm:orgChart val="1"/>
          <dgm:chPref val="1"/>
          <dgm:dir val="rev"/>
          <dgm:animOne val="branch"/>
          <dgm:animLvl val="lvl"/>
          <dgm:resizeHandles/>
        </dgm:presLayoutVars>
      </dgm:prSet>
      <dgm:spPr/>
    </dgm:pt>
    <dgm:pt modelId="{B44DA052-8E9A-491D-A14E-8A9A142E17F2}" type="pres">
      <dgm:prSet presAssocID="{A34A9331-A92F-4513-9007-D99C9E7D2EF9}" presName="hierRoot1" presStyleCnt="0">
        <dgm:presLayoutVars>
          <dgm:hierBranch val="init"/>
        </dgm:presLayoutVars>
      </dgm:prSet>
      <dgm:spPr/>
    </dgm:pt>
    <dgm:pt modelId="{1BC3FDBF-72EC-4030-96C0-537579BC960A}" type="pres">
      <dgm:prSet presAssocID="{A34A9331-A92F-4513-9007-D99C9E7D2EF9}" presName="rootComposite1" presStyleCnt="0"/>
      <dgm:spPr/>
    </dgm:pt>
    <dgm:pt modelId="{E1492784-1814-41F7-89FD-761332CE22C6}" type="pres">
      <dgm:prSet presAssocID="{A34A9331-A92F-4513-9007-D99C9E7D2EF9}" presName="rootText1" presStyleLbl="node0" presStyleIdx="0" presStyleCnt="1" custScaleX="185674">
        <dgm:presLayoutVars>
          <dgm:chPref val="3"/>
        </dgm:presLayoutVars>
      </dgm:prSet>
      <dgm:spPr/>
    </dgm:pt>
    <dgm:pt modelId="{76D82E0F-8191-4666-9195-0EBDB6345452}" type="pres">
      <dgm:prSet presAssocID="{A34A9331-A92F-4513-9007-D99C9E7D2EF9}" presName="rootConnector1" presStyleLbl="node1" presStyleIdx="0" presStyleCnt="0"/>
      <dgm:spPr/>
    </dgm:pt>
    <dgm:pt modelId="{349DBBB3-6774-4B2E-904B-0030E5AD90A1}" type="pres">
      <dgm:prSet presAssocID="{A34A9331-A92F-4513-9007-D99C9E7D2EF9}" presName="hierChild2" presStyleCnt="0"/>
      <dgm:spPr/>
    </dgm:pt>
    <dgm:pt modelId="{1B263692-A606-4BF8-BCA6-289FD3468108}" type="pres">
      <dgm:prSet presAssocID="{6599A0B5-E77F-4A55-88E0-41EC8327559B}" presName="Name37" presStyleLbl="parChTrans1D2" presStyleIdx="0" presStyleCnt="3"/>
      <dgm:spPr/>
    </dgm:pt>
    <dgm:pt modelId="{C3D23D96-C1EC-4908-B34B-DA252F8DE832}" type="pres">
      <dgm:prSet presAssocID="{A2EBAE6F-F38F-4948-8518-B927DC8515E5}" presName="hierRoot2" presStyleCnt="0">
        <dgm:presLayoutVars>
          <dgm:hierBranch val="init"/>
        </dgm:presLayoutVars>
      </dgm:prSet>
      <dgm:spPr/>
    </dgm:pt>
    <dgm:pt modelId="{C311DBA3-B4A1-41D6-B92E-8F41F8A4F0E7}" type="pres">
      <dgm:prSet presAssocID="{A2EBAE6F-F38F-4948-8518-B927DC8515E5}" presName="rootComposite" presStyleCnt="0"/>
      <dgm:spPr/>
    </dgm:pt>
    <dgm:pt modelId="{24CA003F-61B9-43FD-9352-6DB2104996F3}" type="pres">
      <dgm:prSet presAssocID="{A2EBAE6F-F38F-4948-8518-B927DC8515E5}" presName="rootText" presStyleLbl="node2" presStyleIdx="0" presStyleCnt="3">
        <dgm:presLayoutVars>
          <dgm:chPref val="3"/>
        </dgm:presLayoutVars>
      </dgm:prSet>
      <dgm:spPr/>
    </dgm:pt>
    <dgm:pt modelId="{DF92BEF9-312D-46F3-9911-C9183EBA584A}" type="pres">
      <dgm:prSet presAssocID="{A2EBAE6F-F38F-4948-8518-B927DC8515E5}" presName="rootConnector" presStyleLbl="node2" presStyleIdx="0" presStyleCnt="3"/>
      <dgm:spPr/>
    </dgm:pt>
    <dgm:pt modelId="{C015FE2A-A977-47B8-91C8-7B3103B83582}" type="pres">
      <dgm:prSet presAssocID="{A2EBAE6F-F38F-4948-8518-B927DC8515E5}" presName="hierChild4" presStyleCnt="0"/>
      <dgm:spPr/>
    </dgm:pt>
    <dgm:pt modelId="{73B72BA7-7665-4031-9B21-2773AD5EE25E}" type="pres">
      <dgm:prSet presAssocID="{A2EBAE6F-F38F-4948-8518-B927DC8515E5}" presName="hierChild5" presStyleCnt="0"/>
      <dgm:spPr/>
    </dgm:pt>
    <dgm:pt modelId="{44FB1151-839B-43B8-8E35-F7CF503D8D21}" type="pres">
      <dgm:prSet presAssocID="{7F732736-2904-42B9-B318-72FE90596ABA}" presName="Name37" presStyleLbl="parChTrans1D2" presStyleIdx="1" presStyleCnt="3"/>
      <dgm:spPr/>
    </dgm:pt>
    <dgm:pt modelId="{AAEC2030-3AAE-4E69-9B07-E9C0A0DE0648}" type="pres">
      <dgm:prSet presAssocID="{BB9B4AC5-47B3-457D-BB69-7468E5099709}" presName="hierRoot2" presStyleCnt="0">
        <dgm:presLayoutVars>
          <dgm:hierBranch val="init"/>
        </dgm:presLayoutVars>
      </dgm:prSet>
      <dgm:spPr/>
    </dgm:pt>
    <dgm:pt modelId="{6BD9C297-2F53-446B-ADBE-18B88307B70F}" type="pres">
      <dgm:prSet presAssocID="{BB9B4AC5-47B3-457D-BB69-7468E5099709}" presName="rootComposite" presStyleCnt="0"/>
      <dgm:spPr/>
    </dgm:pt>
    <dgm:pt modelId="{E228290B-8D71-4A90-9BED-D5723C181B6F}" type="pres">
      <dgm:prSet presAssocID="{BB9B4AC5-47B3-457D-BB69-7468E5099709}" presName="rootText" presStyleLbl="node2" presStyleIdx="1" presStyleCnt="3">
        <dgm:presLayoutVars>
          <dgm:chPref val="3"/>
        </dgm:presLayoutVars>
      </dgm:prSet>
      <dgm:spPr/>
    </dgm:pt>
    <dgm:pt modelId="{EC66B850-8A8B-4566-8F51-524C2727CA58}" type="pres">
      <dgm:prSet presAssocID="{BB9B4AC5-47B3-457D-BB69-7468E5099709}" presName="rootConnector" presStyleLbl="node2" presStyleIdx="1" presStyleCnt="3"/>
      <dgm:spPr/>
    </dgm:pt>
    <dgm:pt modelId="{2DEBDC1A-76BB-4A79-872C-DA0B83ACDADC}" type="pres">
      <dgm:prSet presAssocID="{BB9B4AC5-47B3-457D-BB69-7468E5099709}" presName="hierChild4" presStyleCnt="0"/>
      <dgm:spPr/>
    </dgm:pt>
    <dgm:pt modelId="{C83A6325-0A5F-4F9D-A1D5-ADB6BA96FE28}" type="pres">
      <dgm:prSet presAssocID="{BB9B4AC5-47B3-457D-BB69-7468E5099709}" presName="hierChild5" presStyleCnt="0"/>
      <dgm:spPr/>
    </dgm:pt>
    <dgm:pt modelId="{FEA99F5C-3FB0-4B9A-8FBA-55273F6BE0F1}" type="pres">
      <dgm:prSet presAssocID="{DEE5D828-CC78-425A-B8EC-965D1D755029}" presName="Name37" presStyleLbl="parChTrans1D2" presStyleIdx="2" presStyleCnt="3"/>
      <dgm:spPr/>
    </dgm:pt>
    <dgm:pt modelId="{AFDE42A0-E11D-41D6-ACA8-3DED8A27A8E9}" type="pres">
      <dgm:prSet presAssocID="{56ADF28A-7958-4E36-A37F-D60AF6A2C4CE}" presName="hierRoot2" presStyleCnt="0">
        <dgm:presLayoutVars>
          <dgm:hierBranch val="init"/>
        </dgm:presLayoutVars>
      </dgm:prSet>
      <dgm:spPr/>
    </dgm:pt>
    <dgm:pt modelId="{183EE207-6E2E-46CC-A5FE-7DE6A2DD1180}" type="pres">
      <dgm:prSet presAssocID="{56ADF28A-7958-4E36-A37F-D60AF6A2C4CE}" presName="rootComposite" presStyleCnt="0"/>
      <dgm:spPr/>
    </dgm:pt>
    <dgm:pt modelId="{D1927631-C970-4AE1-8772-862A0562BABF}" type="pres">
      <dgm:prSet presAssocID="{56ADF28A-7958-4E36-A37F-D60AF6A2C4CE}" presName="rootText" presStyleLbl="node2" presStyleIdx="2" presStyleCnt="3">
        <dgm:presLayoutVars>
          <dgm:chPref val="3"/>
        </dgm:presLayoutVars>
      </dgm:prSet>
      <dgm:spPr/>
    </dgm:pt>
    <dgm:pt modelId="{84E6256C-AF9C-4192-A5A6-5799C95766BD}" type="pres">
      <dgm:prSet presAssocID="{56ADF28A-7958-4E36-A37F-D60AF6A2C4CE}" presName="rootConnector" presStyleLbl="node2" presStyleIdx="2" presStyleCnt="3"/>
      <dgm:spPr/>
    </dgm:pt>
    <dgm:pt modelId="{D5FFF05A-B0FF-487E-A5A2-D3A147396F4B}" type="pres">
      <dgm:prSet presAssocID="{56ADF28A-7958-4E36-A37F-D60AF6A2C4CE}" presName="hierChild4" presStyleCnt="0"/>
      <dgm:spPr/>
    </dgm:pt>
    <dgm:pt modelId="{98BB7052-CFDC-41AC-9527-31AD1CA72C00}" type="pres">
      <dgm:prSet presAssocID="{56ADF28A-7958-4E36-A37F-D60AF6A2C4CE}" presName="hierChild5" presStyleCnt="0"/>
      <dgm:spPr/>
    </dgm:pt>
    <dgm:pt modelId="{661E36A2-DCAE-4346-A2F6-99C70235DC67}" type="pres">
      <dgm:prSet presAssocID="{A34A9331-A92F-4513-9007-D99C9E7D2EF9}" presName="hierChild3" presStyleCnt="0"/>
      <dgm:spPr/>
    </dgm:pt>
  </dgm:ptLst>
  <dgm:cxnLst>
    <dgm:cxn modelId="{A6C70070-7F16-45EA-8763-6764A65FA009}" type="presOf" srcId="{A34A9331-A92F-4513-9007-D99C9E7D2EF9}" destId="{E1492784-1814-41F7-89FD-761332CE22C6}" srcOrd="0" destOrd="0" presId="urn:microsoft.com/office/officeart/2005/8/layout/orgChart1"/>
    <dgm:cxn modelId="{44B1FD50-46B8-44EF-8092-F95C56EB5C8F}" type="presOf" srcId="{56ADF28A-7958-4E36-A37F-D60AF6A2C4CE}" destId="{84E6256C-AF9C-4192-A5A6-5799C95766BD}" srcOrd="1" destOrd="0" presId="urn:microsoft.com/office/officeart/2005/8/layout/orgChart1"/>
    <dgm:cxn modelId="{475DB752-362F-4C4D-B672-FC51785230A1}" type="presOf" srcId="{BB9B4AC5-47B3-457D-BB69-7468E5099709}" destId="{EC66B850-8A8B-4566-8F51-524C2727CA58}" srcOrd="1" destOrd="0" presId="urn:microsoft.com/office/officeart/2005/8/layout/orgChart1"/>
    <dgm:cxn modelId="{9C0E6074-58F4-4847-BE93-C07EC2D85A8B}" type="presOf" srcId="{A2EBAE6F-F38F-4948-8518-B927DC8515E5}" destId="{24CA003F-61B9-43FD-9352-6DB2104996F3}" srcOrd="0" destOrd="0" presId="urn:microsoft.com/office/officeart/2005/8/layout/orgChart1"/>
    <dgm:cxn modelId="{E36BB97E-3C8E-4DAD-A93E-C3F976B17028}" type="presOf" srcId="{A2EBAE6F-F38F-4948-8518-B927DC8515E5}" destId="{DF92BEF9-312D-46F3-9911-C9183EBA584A}" srcOrd="1" destOrd="0" presId="urn:microsoft.com/office/officeart/2005/8/layout/orgChart1"/>
    <dgm:cxn modelId="{F9ED7BA6-2492-4A89-9D2F-AEA7A2B6488C}" srcId="{C05B756D-E718-4D6A-9F21-294070360D7A}" destId="{A34A9331-A92F-4513-9007-D99C9E7D2EF9}" srcOrd="0" destOrd="0" parTransId="{9B6E136E-FF6A-4DE3-B604-B5A737DC4ED0}" sibTransId="{C71A0F44-1FC1-4CA1-BE50-54C52426A59F}"/>
    <dgm:cxn modelId="{DC32E4A7-C611-4688-B2B1-F8D73D0ACC13}" srcId="{A34A9331-A92F-4513-9007-D99C9E7D2EF9}" destId="{56ADF28A-7958-4E36-A37F-D60AF6A2C4CE}" srcOrd="2" destOrd="0" parTransId="{DEE5D828-CC78-425A-B8EC-965D1D755029}" sibTransId="{FFF46AC0-F6B1-45B1-8C68-B6D348FCB796}"/>
    <dgm:cxn modelId="{ADD851B1-12B1-46B2-9903-5F4DE2B7934E}" type="presOf" srcId="{A34A9331-A92F-4513-9007-D99C9E7D2EF9}" destId="{76D82E0F-8191-4666-9195-0EBDB6345452}" srcOrd="1" destOrd="0" presId="urn:microsoft.com/office/officeart/2005/8/layout/orgChart1"/>
    <dgm:cxn modelId="{1B10BABE-B655-4F7D-A97D-7AE3EB4EB697}" type="presOf" srcId="{6599A0B5-E77F-4A55-88E0-41EC8327559B}" destId="{1B263692-A606-4BF8-BCA6-289FD3468108}" srcOrd="0" destOrd="0" presId="urn:microsoft.com/office/officeart/2005/8/layout/orgChart1"/>
    <dgm:cxn modelId="{F0CDA7C1-E34A-4E48-9502-A099319FC0FF}" srcId="{A34A9331-A92F-4513-9007-D99C9E7D2EF9}" destId="{A2EBAE6F-F38F-4948-8518-B927DC8515E5}" srcOrd="0" destOrd="0" parTransId="{6599A0B5-E77F-4A55-88E0-41EC8327559B}" sibTransId="{C4F6E6E2-35BA-4164-97DB-575D72534CBE}"/>
    <dgm:cxn modelId="{F860B2D4-6860-4B3E-8D30-D863D1FC84E8}" srcId="{A34A9331-A92F-4513-9007-D99C9E7D2EF9}" destId="{BB9B4AC5-47B3-457D-BB69-7468E5099709}" srcOrd="1" destOrd="0" parTransId="{7F732736-2904-42B9-B318-72FE90596ABA}" sibTransId="{E7DF482E-1F81-4940-A8D9-36B5BE80545C}"/>
    <dgm:cxn modelId="{AC1D04DA-291E-4858-85D0-80004C9061DD}" type="presOf" srcId="{7F732736-2904-42B9-B318-72FE90596ABA}" destId="{44FB1151-839B-43B8-8E35-F7CF503D8D21}" srcOrd="0" destOrd="0" presId="urn:microsoft.com/office/officeart/2005/8/layout/orgChart1"/>
    <dgm:cxn modelId="{70ADB5DA-5A27-415F-8757-FDD7CB762E03}" type="presOf" srcId="{DEE5D828-CC78-425A-B8EC-965D1D755029}" destId="{FEA99F5C-3FB0-4B9A-8FBA-55273F6BE0F1}" srcOrd="0" destOrd="0" presId="urn:microsoft.com/office/officeart/2005/8/layout/orgChart1"/>
    <dgm:cxn modelId="{E517C6DD-F1D7-47E4-B090-CEB86499AAB5}" type="presOf" srcId="{56ADF28A-7958-4E36-A37F-D60AF6A2C4CE}" destId="{D1927631-C970-4AE1-8772-862A0562BABF}" srcOrd="0" destOrd="0" presId="urn:microsoft.com/office/officeart/2005/8/layout/orgChart1"/>
    <dgm:cxn modelId="{367B5DE3-AB19-4E86-874C-A7D467596233}" type="presOf" srcId="{BB9B4AC5-47B3-457D-BB69-7468E5099709}" destId="{E228290B-8D71-4A90-9BED-D5723C181B6F}" srcOrd="0" destOrd="0" presId="urn:microsoft.com/office/officeart/2005/8/layout/orgChart1"/>
    <dgm:cxn modelId="{C244A4FC-E4AE-4AEE-8C85-34E1361DAAB7}" type="presOf" srcId="{C05B756D-E718-4D6A-9F21-294070360D7A}" destId="{C8FE54B0-10DF-47CC-AF85-0F2B2463B6E2}" srcOrd="0" destOrd="0" presId="urn:microsoft.com/office/officeart/2005/8/layout/orgChart1"/>
    <dgm:cxn modelId="{05FAF4B1-2713-4512-96EE-511908449F86}" type="presParOf" srcId="{C8FE54B0-10DF-47CC-AF85-0F2B2463B6E2}" destId="{B44DA052-8E9A-491D-A14E-8A9A142E17F2}" srcOrd="0" destOrd="0" presId="urn:microsoft.com/office/officeart/2005/8/layout/orgChart1"/>
    <dgm:cxn modelId="{D1C0BB51-5A86-41EB-9149-0E4749B88BBB}" type="presParOf" srcId="{B44DA052-8E9A-491D-A14E-8A9A142E17F2}" destId="{1BC3FDBF-72EC-4030-96C0-537579BC960A}" srcOrd="0" destOrd="0" presId="urn:microsoft.com/office/officeart/2005/8/layout/orgChart1"/>
    <dgm:cxn modelId="{5466F9D8-8B38-454E-BD20-DAB02F86D7F5}" type="presParOf" srcId="{1BC3FDBF-72EC-4030-96C0-537579BC960A}" destId="{E1492784-1814-41F7-89FD-761332CE22C6}" srcOrd="0" destOrd="0" presId="urn:microsoft.com/office/officeart/2005/8/layout/orgChart1"/>
    <dgm:cxn modelId="{EA6B94D1-6F80-4477-9601-96ECAFE0EA20}" type="presParOf" srcId="{1BC3FDBF-72EC-4030-96C0-537579BC960A}" destId="{76D82E0F-8191-4666-9195-0EBDB6345452}" srcOrd="1" destOrd="0" presId="urn:microsoft.com/office/officeart/2005/8/layout/orgChart1"/>
    <dgm:cxn modelId="{F2A92262-46E3-4428-ABA2-A1E5B3A9054D}" type="presParOf" srcId="{B44DA052-8E9A-491D-A14E-8A9A142E17F2}" destId="{349DBBB3-6774-4B2E-904B-0030E5AD90A1}" srcOrd="1" destOrd="0" presId="urn:microsoft.com/office/officeart/2005/8/layout/orgChart1"/>
    <dgm:cxn modelId="{7C441543-D068-43A7-A440-46E56A7AA779}" type="presParOf" srcId="{349DBBB3-6774-4B2E-904B-0030E5AD90A1}" destId="{1B263692-A606-4BF8-BCA6-289FD3468108}" srcOrd="0" destOrd="0" presId="urn:microsoft.com/office/officeart/2005/8/layout/orgChart1"/>
    <dgm:cxn modelId="{FF8D84EB-80DE-4A1C-9F0D-38120328731F}" type="presParOf" srcId="{349DBBB3-6774-4B2E-904B-0030E5AD90A1}" destId="{C3D23D96-C1EC-4908-B34B-DA252F8DE832}" srcOrd="1" destOrd="0" presId="urn:microsoft.com/office/officeart/2005/8/layout/orgChart1"/>
    <dgm:cxn modelId="{1A9BB532-DDD2-435C-A8AC-A75720858FCB}" type="presParOf" srcId="{C3D23D96-C1EC-4908-B34B-DA252F8DE832}" destId="{C311DBA3-B4A1-41D6-B92E-8F41F8A4F0E7}" srcOrd="0" destOrd="0" presId="urn:microsoft.com/office/officeart/2005/8/layout/orgChart1"/>
    <dgm:cxn modelId="{FD62F9B1-5269-4C04-95E2-81B8890D8AA2}" type="presParOf" srcId="{C311DBA3-B4A1-41D6-B92E-8F41F8A4F0E7}" destId="{24CA003F-61B9-43FD-9352-6DB2104996F3}" srcOrd="0" destOrd="0" presId="urn:microsoft.com/office/officeart/2005/8/layout/orgChart1"/>
    <dgm:cxn modelId="{95E8DBD7-8242-4D1D-A81B-1426C17EBDC1}" type="presParOf" srcId="{C311DBA3-B4A1-41D6-B92E-8F41F8A4F0E7}" destId="{DF92BEF9-312D-46F3-9911-C9183EBA584A}" srcOrd="1" destOrd="0" presId="urn:microsoft.com/office/officeart/2005/8/layout/orgChart1"/>
    <dgm:cxn modelId="{1B48053B-68E8-4C97-9152-83BEF269B071}" type="presParOf" srcId="{C3D23D96-C1EC-4908-B34B-DA252F8DE832}" destId="{C015FE2A-A977-47B8-91C8-7B3103B83582}" srcOrd="1" destOrd="0" presId="urn:microsoft.com/office/officeart/2005/8/layout/orgChart1"/>
    <dgm:cxn modelId="{1036EE54-CF2F-42A9-A069-42F4729DA6AA}" type="presParOf" srcId="{C3D23D96-C1EC-4908-B34B-DA252F8DE832}" destId="{73B72BA7-7665-4031-9B21-2773AD5EE25E}" srcOrd="2" destOrd="0" presId="urn:microsoft.com/office/officeart/2005/8/layout/orgChart1"/>
    <dgm:cxn modelId="{81162C73-8F72-42FB-88E3-68A5EB3631CF}" type="presParOf" srcId="{349DBBB3-6774-4B2E-904B-0030E5AD90A1}" destId="{44FB1151-839B-43B8-8E35-F7CF503D8D21}" srcOrd="2" destOrd="0" presId="urn:microsoft.com/office/officeart/2005/8/layout/orgChart1"/>
    <dgm:cxn modelId="{80BB5894-B33C-4ACB-A6BD-6D2AC21A86AD}" type="presParOf" srcId="{349DBBB3-6774-4B2E-904B-0030E5AD90A1}" destId="{AAEC2030-3AAE-4E69-9B07-E9C0A0DE0648}" srcOrd="3" destOrd="0" presId="urn:microsoft.com/office/officeart/2005/8/layout/orgChart1"/>
    <dgm:cxn modelId="{DEABDBFC-E913-429A-B918-D51F4C93535C}" type="presParOf" srcId="{AAEC2030-3AAE-4E69-9B07-E9C0A0DE0648}" destId="{6BD9C297-2F53-446B-ADBE-18B88307B70F}" srcOrd="0" destOrd="0" presId="urn:microsoft.com/office/officeart/2005/8/layout/orgChart1"/>
    <dgm:cxn modelId="{81BAEE66-1934-4571-8689-66F2EE5B8463}" type="presParOf" srcId="{6BD9C297-2F53-446B-ADBE-18B88307B70F}" destId="{E228290B-8D71-4A90-9BED-D5723C181B6F}" srcOrd="0" destOrd="0" presId="urn:microsoft.com/office/officeart/2005/8/layout/orgChart1"/>
    <dgm:cxn modelId="{3C67AB57-9E18-4746-A130-A8A96825A350}" type="presParOf" srcId="{6BD9C297-2F53-446B-ADBE-18B88307B70F}" destId="{EC66B850-8A8B-4566-8F51-524C2727CA58}" srcOrd="1" destOrd="0" presId="urn:microsoft.com/office/officeart/2005/8/layout/orgChart1"/>
    <dgm:cxn modelId="{9D21B157-D501-4286-ABA9-E9BCDB3E2866}" type="presParOf" srcId="{AAEC2030-3AAE-4E69-9B07-E9C0A0DE0648}" destId="{2DEBDC1A-76BB-4A79-872C-DA0B83ACDADC}" srcOrd="1" destOrd="0" presId="urn:microsoft.com/office/officeart/2005/8/layout/orgChart1"/>
    <dgm:cxn modelId="{3F36CE16-BC87-4698-BD1B-F55E9C74BE72}" type="presParOf" srcId="{AAEC2030-3AAE-4E69-9B07-E9C0A0DE0648}" destId="{C83A6325-0A5F-4F9D-A1D5-ADB6BA96FE28}" srcOrd="2" destOrd="0" presId="urn:microsoft.com/office/officeart/2005/8/layout/orgChart1"/>
    <dgm:cxn modelId="{5EC5E275-987A-4730-9C6F-FC7E3E7825B3}" type="presParOf" srcId="{349DBBB3-6774-4B2E-904B-0030E5AD90A1}" destId="{FEA99F5C-3FB0-4B9A-8FBA-55273F6BE0F1}" srcOrd="4" destOrd="0" presId="urn:microsoft.com/office/officeart/2005/8/layout/orgChart1"/>
    <dgm:cxn modelId="{2411642D-586B-43ED-AB01-AE5B5C714B6B}" type="presParOf" srcId="{349DBBB3-6774-4B2E-904B-0030E5AD90A1}" destId="{AFDE42A0-E11D-41D6-ACA8-3DED8A27A8E9}" srcOrd="5" destOrd="0" presId="urn:microsoft.com/office/officeart/2005/8/layout/orgChart1"/>
    <dgm:cxn modelId="{7B9637D5-41E9-4607-8FAF-3A3DE23A030B}" type="presParOf" srcId="{AFDE42A0-E11D-41D6-ACA8-3DED8A27A8E9}" destId="{183EE207-6E2E-46CC-A5FE-7DE6A2DD1180}" srcOrd="0" destOrd="0" presId="urn:microsoft.com/office/officeart/2005/8/layout/orgChart1"/>
    <dgm:cxn modelId="{64E28FCF-6A35-433E-9DD9-D6948636FEFA}" type="presParOf" srcId="{183EE207-6E2E-46CC-A5FE-7DE6A2DD1180}" destId="{D1927631-C970-4AE1-8772-862A0562BABF}" srcOrd="0" destOrd="0" presId="urn:microsoft.com/office/officeart/2005/8/layout/orgChart1"/>
    <dgm:cxn modelId="{CEF5E42A-71A5-4609-80CE-C750DD3FBA2F}" type="presParOf" srcId="{183EE207-6E2E-46CC-A5FE-7DE6A2DD1180}" destId="{84E6256C-AF9C-4192-A5A6-5799C95766BD}" srcOrd="1" destOrd="0" presId="urn:microsoft.com/office/officeart/2005/8/layout/orgChart1"/>
    <dgm:cxn modelId="{6C231052-A94D-4889-88A7-CEBA82508768}" type="presParOf" srcId="{AFDE42A0-E11D-41D6-ACA8-3DED8A27A8E9}" destId="{D5FFF05A-B0FF-487E-A5A2-D3A147396F4B}" srcOrd="1" destOrd="0" presId="urn:microsoft.com/office/officeart/2005/8/layout/orgChart1"/>
    <dgm:cxn modelId="{B2CEA238-72CA-4317-B577-C7DD45F7F93A}" type="presParOf" srcId="{AFDE42A0-E11D-41D6-ACA8-3DED8A27A8E9}" destId="{98BB7052-CFDC-41AC-9527-31AD1CA72C00}" srcOrd="2" destOrd="0" presId="urn:microsoft.com/office/officeart/2005/8/layout/orgChart1"/>
    <dgm:cxn modelId="{78A6609A-B653-4723-9AAC-ECE308F9416E}" type="presParOf" srcId="{B44DA052-8E9A-491D-A14E-8A9A142E17F2}" destId="{661E36A2-DCAE-4346-A2F6-99C70235DC67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05B756D-E718-4D6A-9F21-294070360D7A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34A9331-A92F-4513-9007-D99C9E7D2EF9}">
      <dgm:prSet phldrT="[Text]" custT="1"/>
      <dgm:spPr>
        <a:solidFill>
          <a:srgbClr val="F2C812"/>
        </a:solidFill>
        <a:ln>
          <a:solidFill>
            <a:srgbClr val="F2C812"/>
          </a:solidFill>
        </a:ln>
      </dgm:spPr>
      <dgm:t>
        <a:bodyPr/>
        <a:lstStyle/>
        <a:p>
          <a:r>
            <a:rPr lang="en-US" sz="2400" b="1" kern="1200" dirty="0">
              <a:solidFill>
                <a:srgbClr val="505050"/>
              </a:solidFill>
            </a:rPr>
            <a:t>Three ways to write M</a:t>
          </a:r>
          <a:endParaRPr lang="en-US" sz="2400" b="1" kern="1200" dirty="0">
            <a:solidFill>
              <a:srgbClr val="505050"/>
            </a:solidFill>
            <a:latin typeface="+mj-lt"/>
            <a:ea typeface="+mn-ea"/>
            <a:cs typeface="+mn-cs"/>
          </a:endParaRPr>
        </a:p>
      </dgm:t>
    </dgm:pt>
    <dgm:pt modelId="{9B6E136E-FF6A-4DE3-B604-B5A737DC4ED0}" type="parTrans" cxnId="{F9ED7BA6-2492-4A89-9D2F-AEA7A2B6488C}">
      <dgm:prSet/>
      <dgm:spPr/>
      <dgm:t>
        <a:bodyPr/>
        <a:lstStyle/>
        <a:p>
          <a:endParaRPr lang="en-US"/>
        </a:p>
      </dgm:t>
    </dgm:pt>
    <dgm:pt modelId="{C71A0F44-1FC1-4CA1-BE50-54C52426A59F}" type="sibTrans" cxnId="{F9ED7BA6-2492-4A89-9D2F-AEA7A2B6488C}">
      <dgm:prSet/>
      <dgm:spPr/>
      <dgm:t>
        <a:bodyPr/>
        <a:lstStyle/>
        <a:p>
          <a:endParaRPr lang="en-US"/>
        </a:p>
      </dgm:t>
    </dgm:pt>
    <dgm:pt modelId="{BB9B4AC5-47B3-457D-BB69-7468E5099709}">
      <dgm:prSet phldrT="[Text]" custT="1"/>
      <dgm:spPr>
        <a:solidFill>
          <a:srgbClr val="F2C812"/>
        </a:solidFill>
        <a:ln>
          <a:solidFill>
            <a:srgbClr val="F2C812"/>
          </a:solidFill>
        </a:ln>
      </dgm:spPr>
      <dgm:t>
        <a:bodyPr/>
        <a:lstStyle/>
        <a:p>
          <a:r>
            <a:rPr lang="en-US" sz="2400" b="1" kern="12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j-lt"/>
              <a:ea typeface="+mn-ea"/>
              <a:cs typeface="+mn-cs"/>
            </a:rPr>
            <a:t>Click and Adjust</a:t>
          </a:r>
        </a:p>
      </dgm:t>
    </dgm:pt>
    <dgm:pt modelId="{7F732736-2904-42B9-B318-72FE90596ABA}" type="parTrans" cxnId="{F860B2D4-6860-4B3E-8D30-D863D1FC84E8}">
      <dgm:prSet/>
      <dgm:spPr/>
      <dgm:t>
        <a:bodyPr/>
        <a:lstStyle/>
        <a:p>
          <a:endParaRPr lang="en-US"/>
        </a:p>
      </dgm:t>
    </dgm:pt>
    <dgm:pt modelId="{E7DF482E-1F81-4940-A8D9-36B5BE80545C}" type="sibTrans" cxnId="{F860B2D4-6860-4B3E-8D30-D863D1FC84E8}">
      <dgm:prSet/>
      <dgm:spPr/>
      <dgm:t>
        <a:bodyPr/>
        <a:lstStyle/>
        <a:p>
          <a:endParaRPr lang="en-US"/>
        </a:p>
      </dgm:t>
    </dgm:pt>
    <dgm:pt modelId="{A2EBAE6F-F38F-4948-8518-B927DC8515E5}">
      <dgm:prSet phldrT="[Text]" custT="1"/>
      <dgm:spPr>
        <a:solidFill>
          <a:srgbClr val="F2C812"/>
        </a:solidFill>
        <a:ln>
          <a:solidFill>
            <a:srgbClr val="F2C812"/>
          </a:solidFill>
        </a:ln>
      </dgm:spPr>
      <dgm:t>
        <a:bodyPr/>
        <a:lstStyle/>
        <a:p>
          <a:r>
            <a:rPr lang="en-US" sz="2400" b="1" kern="12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j-lt"/>
              <a:ea typeface="+mn-ea"/>
              <a:cs typeface="+mn-cs"/>
            </a:rPr>
            <a:t>Custom Code</a:t>
          </a:r>
        </a:p>
      </dgm:t>
    </dgm:pt>
    <dgm:pt modelId="{6599A0B5-E77F-4A55-88E0-41EC8327559B}" type="parTrans" cxnId="{F0CDA7C1-E34A-4E48-9502-A099319FC0FF}">
      <dgm:prSet/>
      <dgm:spPr/>
      <dgm:t>
        <a:bodyPr/>
        <a:lstStyle/>
        <a:p>
          <a:endParaRPr lang="en-US"/>
        </a:p>
      </dgm:t>
    </dgm:pt>
    <dgm:pt modelId="{C4F6E6E2-35BA-4164-97DB-575D72534CBE}" type="sibTrans" cxnId="{F0CDA7C1-E34A-4E48-9502-A099319FC0FF}">
      <dgm:prSet/>
      <dgm:spPr/>
      <dgm:t>
        <a:bodyPr/>
        <a:lstStyle/>
        <a:p>
          <a:endParaRPr lang="en-US"/>
        </a:p>
      </dgm:t>
    </dgm:pt>
    <dgm:pt modelId="{56ADF28A-7958-4E36-A37F-D60AF6A2C4CE}">
      <dgm:prSet custT="1"/>
      <dgm:spPr>
        <a:solidFill>
          <a:srgbClr val="F2C812"/>
        </a:solidFill>
        <a:ln>
          <a:solidFill>
            <a:srgbClr val="F2C812"/>
          </a:solidFill>
        </a:ln>
      </dgm:spPr>
      <dgm:t>
        <a:bodyPr/>
        <a:lstStyle/>
        <a:p>
          <a:r>
            <a:rPr lang="en-US" sz="2400" b="1" kern="12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j-lt"/>
              <a:ea typeface="+mn-ea"/>
              <a:cs typeface="+mn-cs"/>
            </a:rPr>
            <a:t>Use the Ribbon</a:t>
          </a:r>
        </a:p>
      </dgm:t>
    </dgm:pt>
    <dgm:pt modelId="{DEE5D828-CC78-425A-B8EC-965D1D755029}" type="parTrans" cxnId="{DC32E4A7-C611-4688-B2B1-F8D73D0ACC13}">
      <dgm:prSet/>
      <dgm:spPr/>
      <dgm:t>
        <a:bodyPr/>
        <a:lstStyle/>
        <a:p>
          <a:endParaRPr lang="en-US"/>
        </a:p>
      </dgm:t>
    </dgm:pt>
    <dgm:pt modelId="{FFF46AC0-F6B1-45B1-8C68-B6D348FCB796}" type="sibTrans" cxnId="{DC32E4A7-C611-4688-B2B1-F8D73D0ACC13}">
      <dgm:prSet/>
      <dgm:spPr/>
      <dgm:t>
        <a:bodyPr/>
        <a:lstStyle/>
        <a:p>
          <a:endParaRPr lang="en-US"/>
        </a:p>
      </dgm:t>
    </dgm:pt>
    <dgm:pt modelId="{C8FE54B0-10DF-47CC-AF85-0F2B2463B6E2}" type="pres">
      <dgm:prSet presAssocID="{C05B756D-E718-4D6A-9F21-294070360D7A}" presName="hierChild1" presStyleCnt="0">
        <dgm:presLayoutVars>
          <dgm:orgChart val="1"/>
          <dgm:chPref val="1"/>
          <dgm:dir val="rev"/>
          <dgm:animOne val="branch"/>
          <dgm:animLvl val="lvl"/>
          <dgm:resizeHandles/>
        </dgm:presLayoutVars>
      </dgm:prSet>
      <dgm:spPr/>
    </dgm:pt>
    <dgm:pt modelId="{B44DA052-8E9A-491D-A14E-8A9A142E17F2}" type="pres">
      <dgm:prSet presAssocID="{A34A9331-A92F-4513-9007-D99C9E7D2EF9}" presName="hierRoot1" presStyleCnt="0">
        <dgm:presLayoutVars>
          <dgm:hierBranch val="init"/>
        </dgm:presLayoutVars>
      </dgm:prSet>
      <dgm:spPr/>
    </dgm:pt>
    <dgm:pt modelId="{1BC3FDBF-72EC-4030-96C0-537579BC960A}" type="pres">
      <dgm:prSet presAssocID="{A34A9331-A92F-4513-9007-D99C9E7D2EF9}" presName="rootComposite1" presStyleCnt="0"/>
      <dgm:spPr/>
    </dgm:pt>
    <dgm:pt modelId="{E1492784-1814-41F7-89FD-761332CE22C6}" type="pres">
      <dgm:prSet presAssocID="{A34A9331-A92F-4513-9007-D99C9E7D2EF9}" presName="rootText1" presStyleLbl="node0" presStyleIdx="0" presStyleCnt="1">
        <dgm:presLayoutVars>
          <dgm:chPref val="3"/>
        </dgm:presLayoutVars>
      </dgm:prSet>
      <dgm:spPr/>
    </dgm:pt>
    <dgm:pt modelId="{76D82E0F-8191-4666-9195-0EBDB6345452}" type="pres">
      <dgm:prSet presAssocID="{A34A9331-A92F-4513-9007-D99C9E7D2EF9}" presName="rootConnector1" presStyleLbl="node1" presStyleIdx="0" presStyleCnt="0"/>
      <dgm:spPr/>
    </dgm:pt>
    <dgm:pt modelId="{349DBBB3-6774-4B2E-904B-0030E5AD90A1}" type="pres">
      <dgm:prSet presAssocID="{A34A9331-A92F-4513-9007-D99C9E7D2EF9}" presName="hierChild2" presStyleCnt="0"/>
      <dgm:spPr/>
    </dgm:pt>
    <dgm:pt modelId="{1B263692-A606-4BF8-BCA6-289FD3468108}" type="pres">
      <dgm:prSet presAssocID="{6599A0B5-E77F-4A55-88E0-41EC8327559B}" presName="Name37" presStyleLbl="parChTrans1D2" presStyleIdx="0" presStyleCnt="3"/>
      <dgm:spPr/>
    </dgm:pt>
    <dgm:pt modelId="{C3D23D96-C1EC-4908-B34B-DA252F8DE832}" type="pres">
      <dgm:prSet presAssocID="{A2EBAE6F-F38F-4948-8518-B927DC8515E5}" presName="hierRoot2" presStyleCnt="0">
        <dgm:presLayoutVars>
          <dgm:hierBranch val="init"/>
        </dgm:presLayoutVars>
      </dgm:prSet>
      <dgm:spPr/>
    </dgm:pt>
    <dgm:pt modelId="{C311DBA3-B4A1-41D6-B92E-8F41F8A4F0E7}" type="pres">
      <dgm:prSet presAssocID="{A2EBAE6F-F38F-4948-8518-B927DC8515E5}" presName="rootComposite" presStyleCnt="0"/>
      <dgm:spPr/>
    </dgm:pt>
    <dgm:pt modelId="{24CA003F-61B9-43FD-9352-6DB2104996F3}" type="pres">
      <dgm:prSet presAssocID="{A2EBAE6F-F38F-4948-8518-B927DC8515E5}" presName="rootText" presStyleLbl="node2" presStyleIdx="0" presStyleCnt="3">
        <dgm:presLayoutVars>
          <dgm:chPref val="3"/>
        </dgm:presLayoutVars>
      </dgm:prSet>
      <dgm:spPr/>
    </dgm:pt>
    <dgm:pt modelId="{DF92BEF9-312D-46F3-9911-C9183EBA584A}" type="pres">
      <dgm:prSet presAssocID="{A2EBAE6F-F38F-4948-8518-B927DC8515E5}" presName="rootConnector" presStyleLbl="node2" presStyleIdx="0" presStyleCnt="3"/>
      <dgm:spPr/>
    </dgm:pt>
    <dgm:pt modelId="{C015FE2A-A977-47B8-91C8-7B3103B83582}" type="pres">
      <dgm:prSet presAssocID="{A2EBAE6F-F38F-4948-8518-B927DC8515E5}" presName="hierChild4" presStyleCnt="0"/>
      <dgm:spPr/>
    </dgm:pt>
    <dgm:pt modelId="{73B72BA7-7665-4031-9B21-2773AD5EE25E}" type="pres">
      <dgm:prSet presAssocID="{A2EBAE6F-F38F-4948-8518-B927DC8515E5}" presName="hierChild5" presStyleCnt="0"/>
      <dgm:spPr/>
    </dgm:pt>
    <dgm:pt modelId="{44FB1151-839B-43B8-8E35-F7CF503D8D21}" type="pres">
      <dgm:prSet presAssocID="{7F732736-2904-42B9-B318-72FE90596ABA}" presName="Name37" presStyleLbl="parChTrans1D2" presStyleIdx="1" presStyleCnt="3"/>
      <dgm:spPr/>
    </dgm:pt>
    <dgm:pt modelId="{AAEC2030-3AAE-4E69-9B07-E9C0A0DE0648}" type="pres">
      <dgm:prSet presAssocID="{BB9B4AC5-47B3-457D-BB69-7468E5099709}" presName="hierRoot2" presStyleCnt="0">
        <dgm:presLayoutVars>
          <dgm:hierBranch val="init"/>
        </dgm:presLayoutVars>
      </dgm:prSet>
      <dgm:spPr/>
    </dgm:pt>
    <dgm:pt modelId="{6BD9C297-2F53-446B-ADBE-18B88307B70F}" type="pres">
      <dgm:prSet presAssocID="{BB9B4AC5-47B3-457D-BB69-7468E5099709}" presName="rootComposite" presStyleCnt="0"/>
      <dgm:spPr/>
    </dgm:pt>
    <dgm:pt modelId="{E228290B-8D71-4A90-9BED-D5723C181B6F}" type="pres">
      <dgm:prSet presAssocID="{BB9B4AC5-47B3-457D-BB69-7468E5099709}" presName="rootText" presStyleLbl="node2" presStyleIdx="1" presStyleCnt="3">
        <dgm:presLayoutVars>
          <dgm:chPref val="3"/>
        </dgm:presLayoutVars>
      </dgm:prSet>
      <dgm:spPr/>
    </dgm:pt>
    <dgm:pt modelId="{EC66B850-8A8B-4566-8F51-524C2727CA58}" type="pres">
      <dgm:prSet presAssocID="{BB9B4AC5-47B3-457D-BB69-7468E5099709}" presName="rootConnector" presStyleLbl="node2" presStyleIdx="1" presStyleCnt="3"/>
      <dgm:spPr/>
    </dgm:pt>
    <dgm:pt modelId="{2DEBDC1A-76BB-4A79-872C-DA0B83ACDADC}" type="pres">
      <dgm:prSet presAssocID="{BB9B4AC5-47B3-457D-BB69-7468E5099709}" presName="hierChild4" presStyleCnt="0"/>
      <dgm:spPr/>
    </dgm:pt>
    <dgm:pt modelId="{C83A6325-0A5F-4F9D-A1D5-ADB6BA96FE28}" type="pres">
      <dgm:prSet presAssocID="{BB9B4AC5-47B3-457D-BB69-7468E5099709}" presName="hierChild5" presStyleCnt="0"/>
      <dgm:spPr/>
    </dgm:pt>
    <dgm:pt modelId="{FEA99F5C-3FB0-4B9A-8FBA-55273F6BE0F1}" type="pres">
      <dgm:prSet presAssocID="{DEE5D828-CC78-425A-B8EC-965D1D755029}" presName="Name37" presStyleLbl="parChTrans1D2" presStyleIdx="2" presStyleCnt="3"/>
      <dgm:spPr/>
    </dgm:pt>
    <dgm:pt modelId="{AFDE42A0-E11D-41D6-ACA8-3DED8A27A8E9}" type="pres">
      <dgm:prSet presAssocID="{56ADF28A-7958-4E36-A37F-D60AF6A2C4CE}" presName="hierRoot2" presStyleCnt="0">
        <dgm:presLayoutVars>
          <dgm:hierBranch val="init"/>
        </dgm:presLayoutVars>
      </dgm:prSet>
      <dgm:spPr/>
    </dgm:pt>
    <dgm:pt modelId="{183EE207-6E2E-46CC-A5FE-7DE6A2DD1180}" type="pres">
      <dgm:prSet presAssocID="{56ADF28A-7958-4E36-A37F-D60AF6A2C4CE}" presName="rootComposite" presStyleCnt="0"/>
      <dgm:spPr/>
    </dgm:pt>
    <dgm:pt modelId="{D1927631-C970-4AE1-8772-862A0562BABF}" type="pres">
      <dgm:prSet presAssocID="{56ADF28A-7958-4E36-A37F-D60AF6A2C4CE}" presName="rootText" presStyleLbl="node2" presStyleIdx="2" presStyleCnt="3">
        <dgm:presLayoutVars>
          <dgm:chPref val="3"/>
        </dgm:presLayoutVars>
      </dgm:prSet>
      <dgm:spPr/>
    </dgm:pt>
    <dgm:pt modelId="{84E6256C-AF9C-4192-A5A6-5799C95766BD}" type="pres">
      <dgm:prSet presAssocID="{56ADF28A-7958-4E36-A37F-D60AF6A2C4CE}" presName="rootConnector" presStyleLbl="node2" presStyleIdx="2" presStyleCnt="3"/>
      <dgm:spPr/>
    </dgm:pt>
    <dgm:pt modelId="{D5FFF05A-B0FF-487E-A5A2-D3A147396F4B}" type="pres">
      <dgm:prSet presAssocID="{56ADF28A-7958-4E36-A37F-D60AF6A2C4CE}" presName="hierChild4" presStyleCnt="0"/>
      <dgm:spPr/>
    </dgm:pt>
    <dgm:pt modelId="{98BB7052-CFDC-41AC-9527-31AD1CA72C00}" type="pres">
      <dgm:prSet presAssocID="{56ADF28A-7958-4E36-A37F-D60AF6A2C4CE}" presName="hierChild5" presStyleCnt="0"/>
      <dgm:spPr/>
    </dgm:pt>
    <dgm:pt modelId="{661E36A2-DCAE-4346-A2F6-99C70235DC67}" type="pres">
      <dgm:prSet presAssocID="{A34A9331-A92F-4513-9007-D99C9E7D2EF9}" presName="hierChild3" presStyleCnt="0"/>
      <dgm:spPr/>
    </dgm:pt>
  </dgm:ptLst>
  <dgm:cxnLst>
    <dgm:cxn modelId="{A6C70070-7F16-45EA-8763-6764A65FA009}" type="presOf" srcId="{A34A9331-A92F-4513-9007-D99C9E7D2EF9}" destId="{E1492784-1814-41F7-89FD-761332CE22C6}" srcOrd="0" destOrd="0" presId="urn:microsoft.com/office/officeart/2005/8/layout/orgChart1"/>
    <dgm:cxn modelId="{44B1FD50-46B8-44EF-8092-F95C56EB5C8F}" type="presOf" srcId="{56ADF28A-7958-4E36-A37F-D60AF6A2C4CE}" destId="{84E6256C-AF9C-4192-A5A6-5799C95766BD}" srcOrd="1" destOrd="0" presId="urn:microsoft.com/office/officeart/2005/8/layout/orgChart1"/>
    <dgm:cxn modelId="{475DB752-362F-4C4D-B672-FC51785230A1}" type="presOf" srcId="{BB9B4AC5-47B3-457D-BB69-7468E5099709}" destId="{EC66B850-8A8B-4566-8F51-524C2727CA58}" srcOrd="1" destOrd="0" presId="urn:microsoft.com/office/officeart/2005/8/layout/orgChart1"/>
    <dgm:cxn modelId="{9C0E6074-58F4-4847-BE93-C07EC2D85A8B}" type="presOf" srcId="{A2EBAE6F-F38F-4948-8518-B927DC8515E5}" destId="{24CA003F-61B9-43FD-9352-6DB2104996F3}" srcOrd="0" destOrd="0" presId="urn:microsoft.com/office/officeart/2005/8/layout/orgChart1"/>
    <dgm:cxn modelId="{E36BB97E-3C8E-4DAD-A93E-C3F976B17028}" type="presOf" srcId="{A2EBAE6F-F38F-4948-8518-B927DC8515E5}" destId="{DF92BEF9-312D-46F3-9911-C9183EBA584A}" srcOrd="1" destOrd="0" presId="urn:microsoft.com/office/officeart/2005/8/layout/orgChart1"/>
    <dgm:cxn modelId="{F9ED7BA6-2492-4A89-9D2F-AEA7A2B6488C}" srcId="{C05B756D-E718-4D6A-9F21-294070360D7A}" destId="{A34A9331-A92F-4513-9007-D99C9E7D2EF9}" srcOrd="0" destOrd="0" parTransId="{9B6E136E-FF6A-4DE3-B604-B5A737DC4ED0}" sibTransId="{C71A0F44-1FC1-4CA1-BE50-54C52426A59F}"/>
    <dgm:cxn modelId="{DC32E4A7-C611-4688-B2B1-F8D73D0ACC13}" srcId="{A34A9331-A92F-4513-9007-D99C9E7D2EF9}" destId="{56ADF28A-7958-4E36-A37F-D60AF6A2C4CE}" srcOrd="2" destOrd="0" parTransId="{DEE5D828-CC78-425A-B8EC-965D1D755029}" sibTransId="{FFF46AC0-F6B1-45B1-8C68-B6D348FCB796}"/>
    <dgm:cxn modelId="{ADD851B1-12B1-46B2-9903-5F4DE2B7934E}" type="presOf" srcId="{A34A9331-A92F-4513-9007-D99C9E7D2EF9}" destId="{76D82E0F-8191-4666-9195-0EBDB6345452}" srcOrd="1" destOrd="0" presId="urn:microsoft.com/office/officeart/2005/8/layout/orgChart1"/>
    <dgm:cxn modelId="{1B10BABE-B655-4F7D-A97D-7AE3EB4EB697}" type="presOf" srcId="{6599A0B5-E77F-4A55-88E0-41EC8327559B}" destId="{1B263692-A606-4BF8-BCA6-289FD3468108}" srcOrd="0" destOrd="0" presId="urn:microsoft.com/office/officeart/2005/8/layout/orgChart1"/>
    <dgm:cxn modelId="{F0CDA7C1-E34A-4E48-9502-A099319FC0FF}" srcId="{A34A9331-A92F-4513-9007-D99C9E7D2EF9}" destId="{A2EBAE6F-F38F-4948-8518-B927DC8515E5}" srcOrd="0" destOrd="0" parTransId="{6599A0B5-E77F-4A55-88E0-41EC8327559B}" sibTransId="{C4F6E6E2-35BA-4164-97DB-575D72534CBE}"/>
    <dgm:cxn modelId="{F860B2D4-6860-4B3E-8D30-D863D1FC84E8}" srcId="{A34A9331-A92F-4513-9007-D99C9E7D2EF9}" destId="{BB9B4AC5-47B3-457D-BB69-7468E5099709}" srcOrd="1" destOrd="0" parTransId="{7F732736-2904-42B9-B318-72FE90596ABA}" sibTransId="{E7DF482E-1F81-4940-A8D9-36B5BE80545C}"/>
    <dgm:cxn modelId="{AC1D04DA-291E-4858-85D0-80004C9061DD}" type="presOf" srcId="{7F732736-2904-42B9-B318-72FE90596ABA}" destId="{44FB1151-839B-43B8-8E35-F7CF503D8D21}" srcOrd="0" destOrd="0" presId="urn:microsoft.com/office/officeart/2005/8/layout/orgChart1"/>
    <dgm:cxn modelId="{70ADB5DA-5A27-415F-8757-FDD7CB762E03}" type="presOf" srcId="{DEE5D828-CC78-425A-B8EC-965D1D755029}" destId="{FEA99F5C-3FB0-4B9A-8FBA-55273F6BE0F1}" srcOrd="0" destOrd="0" presId="urn:microsoft.com/office/officeart/2005/8/layout/orgChart1"/>
    <dgm:cxn modelId="{E517C6DD-F1D7-47E4-B090-CEB86499AAB5}" type="presOf" srcId="{56ADF28A-7958-4E36-A37F-D60AF6A2C4CE}" destId="{D1927631-C970-4AE1-8772-862A0562BABF}" srcOrd="0" destOrd="0" presId="urn:microsoft.com/office/officeart/2005/8/layout/orgChart1"/>
    <dgm:cxn modelId="{367B5DE3-AB19-4E86-874C-A7D467596233}" type="presOf" srcId="{BB9B4AC5-47B3-457D-BB69-7468E5099709}" destId="{E228290B-8D71-4A90-9BED-D5723C181B6F}" srcOrd="0" destOrd="0" presId="urn:microsoft.com/office/officeart/2005/8/layout/orgChart1"/>
    <dgm:cxn modelId="{C244A4FC-E4AE-4AEE-8C85-34E1361DAAB7}" type="presOf" srcId="{C05B756D-E718-4D6A-9F21-294070360D7A}" destId="{C8FE54B0-10DF-47CC-AF85-0F2B2463B6E2}" srcOrd="0" destOrd="0" presId="urn:microsoft.com/office/officeart/2005/8/layout/orgChart1"/>
    <dgm:cxn modelId="{05FAF4B1-2713-4512-96EE-511908449F86}" type="presParOf" srcId="{C8FE54B0-10DF-47CC-AF85-0F2B2463B6E2}" destId="{B44DA052-8E9A-491D-A14E-8A9A142E17F2}" srcOrd="0" destOrd="0" presId="urn:microsoft.com/office/officeart/2005/8/layout/orgChart1"/>
    <dgm:cxn modelId="{D1C0BB51-5A86-41EB-9149-0E4749B88BBB}" type="presParOf" srcId="{B44DA052-8E9A-491D-A14E-8A9A142E17F2}" destId="{1BC3FDBF-72EC-4030-96C0-537579BC960A}" srcOrd="0" destOrd="0" presId="urn:microsoft.com/office/officeart/2005/8/layout/orgChart1"/>
    <dgm:cxn modelId="{5466F9D8-8B38-454E-BD20-DAB02F86D7F5}" type="presParOf" srcId="{1BC3FDBF-72EC-4030-96C0-537579BC960A}" destId="{E1492784-1814-41F7-89FD-761332CE22C6}" srcOrd="0" destOrd="0" presId="urn:microsoft.com/office/officeart/2005/8/layout/orgChart1"/>
    <dgm:cxn modelId="{EA6B94D1-6F80-4477-9601-96ECAFE0EA20}" type="presParOf" srcId="{1BC3FDBF-72EC-4030-96C0-537579BC960A}" destId="{76D82E0F-8191-4666-9195-0EBDB6345452}" srcOrd="1" destOrd="0" presId="urn:microsoft.com/office/officeart/2005/8/layout/orgChart1"/>
    <dgm:cxn modelId="{F2A92262-46E3-4428-ABA2-A1E5B3A9054D}" type="presParOf" srcId="{B44DA052-8E9A-491D-A14E-8A9A142E17F2}" destId="{349DBBB3-6774-4B2E-904B-0030E5AD90A1}" srcOrd="1" destOrd="0" presId="urn:microsoft.com/office/officeart/2005/8/layout/orgChart1"/>
    <dgm:cxn modelId="{7C441543-D068-43A7-A440-46E56A7AA779}" type="presParOf" srcId="{349DBBB3-6774-4B2E-904B-0030E5AD90A1}" destId="{1B263692-A606-4BF8-BCA6-289FD3468108}" srcOrd="0" destOrd="0" presId="urn:microsoft.com/office/officeart/2005/8/layout/orgChart1"/>
    <dgm:cxn modelId="{FF8D84EB-80DE-4A1C-9F0D-38120328731F}" type="presParOf" srcId="{349DBBB3-6774-4B2E-904B-0030E5AD90A1}" destId="{C3D23D96-C1EC-4908-B34B-DA252F8DE832}" srcOrd="1" destOrd="0" presId="urn:microsoft.com/office/officeart/2005/8/layout/orgChart1"/>
    <dgm:cxn modelId="{1A9BB532-DDD2-435C-A8AC-A75720858FCB}" type="presParOf" srcId="{C3D23D96-C1EC-4908-B34B-DA252F8DE832}" destId="{C311DBA3-B4A1-41D6-B92E-8F41F8A4F0E7}" srcOrd="0" destOrd="0" presId="urn:microsoft.com/office/officeart/2005/8/layout/orgChart1"/>
    <dgm:cxn modelId="{FD62F9B1-5269-4C04-95E2-81B8890D8AA2}" type="presParOf" srcId="{C311DBA3-B4A1-41D6-B92E-8F41F8A4F0E7}" destId="{24CA003F-61B9-43FD-9352-6DB2104996F3}" srcOrd="0" destOrd="0" presId="urn:microsoft.com/office/officeart/2005/8/layout/orgChart1"/>
    <dgm:cxn modelId="{95E8DBD7-8242-4D1D-A81B-1426C17EBDC1}" type="presParOf" srcId="{C311DBA3-B4A1-41D6-B92E-8F41F8A4F0E7}" destId="{DF92BEF9-312D-46F3-9911-C9183EBA584A}" srcOrd="1" destOrd="0" presId="urn:microsoft.com/office/officeart/2005/8/layout/orgChart1"/>
    <dgm:cxn modelId="{1B48053B-68E8-4C97-9152-83BEF269B071}" type="presParOf" srcId="{C3D23D96-C1EC-4908-B34B-DA252F8DE832}" destId="{C015FE2A-A977-47B8-91C8-7B3103B83582}" srcOrd="1" destOrd="0" presId="urn:microsoft.com/office/officeart/2005/8/layout/orgChart1"/>
    <dgm:cxn modelId="{1036EE54-CF2F-42A9-A069-42F4729DA6AA}" type="presParOf" srcId="{C3D23D96-C1EC-4908-B34B-DA252F8DE832}" destId="{73B72BA7-7665-4031-9B21-2773AD5EE25E}" srcOrd="2" destOrd="0" presId="urn:microsoft.com/office/officeart/2005/8/layout/orgChart1"/>
    <dgm:cxn modelId="{81162C73-8F72-42FB-88E3-68A5EB3631CF}" type="presParOf" srcId="{349DBBB3-6774-4B2E-904B-0030E5AD90A1}" destId="{44FB1151-839B-43B8-8E35-F7CF503D8D21}" srcOrd="2" destOrd="0" presId="urn:microsoft.com/office/officeart/2005/8/layout/orgChart1"/>
    <dgm:cxn modelId="{80BB5894-B33C-4ACB-A6BD-6D2AC21A86AD}" type="presParOf" srcId="{349DBBB3-6774-4B2E-904B-0030E5AD90A1}" destId="{AAEC2030-3AAE-4E69-9B07-E9C0A0DE0648}" srcOrd="3" destOrd="0" presId="urn:microsoft.com/office/officeart/2005/8/layout/orgChart1"/>
    <dgm:cxn modelId="{DEABDBFC-E913-429A-B918-D51F4C93535C}" type="presParOf" srcId="{AAEC2030-3AAE-4E69-9B07-E9C0A0DE0648}" destId="{6BD9C297-2F53-446B-ADBE-18B88307B70F}" srcOrd="0" destOrd="0" presId="urn:microsoft.com/office/officeart/2005/8/layout/orgChart1"/>
    <dgm:cxn modelId="{81BAEE66-1934-4571-8689-66F2EE5B8463}" type="presParOf" srcId="{6BD9C297-2F53-446B-ADBE-18B88307B70F}" destId="{E228290B-8D71-4A90-9BED-D5723C181B6F}" srcOrd="0" destOrd="0" presId="urn:microsoft.com/office/officeart/2005/8/layout/orgChart1"/>
    <dgm:cxn modelId="{3C67AB57-9E18-4746-A130-A8A96825A350}" type="presParOf" srcId="{6BD9C297-2F53-446B-ADBE-18B88307B70F}" destId="{EC66B850-8A8B-4566-8F51-524C2727CA58}" srcOrd="1" destOrd="0" presId="urn:microsoft.com/office/officeart/2005/8/layout/orgChart1"/>
    <dgm:cxn modelId="{9D21B157-D501-4286-ABA9-E9BCDB3E2866}" type="presParOf" srcId="{AAEC2030-3AAE-4E69-9B07-E9C0A0DE0648}" destId="{2DEBDC1A-76BB-4A79-872C-DA0B83ACDADC}" srcOrd="1" destOrd="0" presId="urn:microsoft.com/office/officeart/2005/8/layout/orgChart1"/>
    <dgm:cxn modelId="{3F36CE16-BC87-4698-BD1B-F55E9C74BE72}" type="presParOf" srcId="{AAEC2030-3AAE-4E69-9B07-E9C0A0DE0648}" destId="{C83A6325-0A5F-4F9D-A1D5-ADB6BA96FE28}" srcOrd="2" destOrd="0" presId="urn:microsoft.com/office/officeart/2005/8/layout/orgChart1"/>
    <dgm:cxn modelId="{5EC5E275-987A-4730-9C6F-FC7E3E7825B3}" type="presParOf" srcId="{349DBBB3-6774-4B2E-904B-0030E5AD90A1}" destId="{FEA99F5C-3FB0-4B9A-8FBA-55273F6BE0F1}" srcOrd="4" destOrd="0" presId="urn:microsoft.com/office/officeart/2005/8/layout/orgChart1"/>
    <dgm:cxn modelId="{2411642D-586B-43ED-AB01-AE5B5C714B6B}" type="presParOf" srcId="{349DBBB3-6774-4B2E-904B-0030E5AD90A1}" destId="{AFDE42A0-E11D-41D6-ACA8-3DED8A27A8E9}" srcOrd="5" destOrd="0" presId="urn:microsoft.com/office/officeart/2005/8/layout/orgChart1"/>
    <dgm:cxn modelId="{7B9637D5-41E9-4607-8FAF-3A3DE23A030B}" type="presParOf" srcId="{AFDE42A0-E11D-41D6-ACA8-3DED8A27A8E9}" destId="{183EE207-6E2E-46CC-A5FE-7DE6A2DD1180}" srcOrd="0" destOrd="0" presId="urn:microsoft.com/office/officeart/2005/8/layout/orgChart1"/>
    <dgm:cxn modelId="{64E28FCF-6A35-433E-9DD9-D6948636FEFA}" type="presParOf" srcId="{183EE207-6E2E-46CC-A5FE-7DE6A2DD1180}" destId="{D1927631-C970-4AE1-8772-862A0562BABF}" srcOrd="0" destOrd="0" presId="urn:microsoft.com/office/officeart/2005/8/layout/orgChart1"/>
    <dgm:cxn modelId="{CEF5E42A-71A5-4609-80CE-C750DD3FBA2F}" type="presParOf" srcId="{183EE207-6E2E-46CC-A5FE-7DE6A2DD1180}" destId="{84E6256C-AF9C-4192-A5A6-5799C95766BD}" srcOrd="1" destOrd="0" presId="urn:microsoft.com/office/officeart/2005/8/layout/orgChart1"/>
    <dgm:cxn modelId="{6C231052-A94D-4889-88A7-CEBA82508768}" type="presParOf" srcId="{AFDE42A0-E11D-41D6-ACA8-3DED8A27A8E9}" destId="{D5FFF05A-B0FF-487E-A5A2-D3A147396F4B}" srcOrd="1" destOrd="0" presId="urn:microsoft.com/office/officeart/2005/8/layout/orgChart1"/>
    <dgm:cxn modelId="{B2CEA238-72CA-4317-B577-C7DD45F7F93A}" type="presParOf" srcId="{AFDE42A0-E11D-41D6-ACA8-3DED8A27A8E9}" destId="{98BB7052-CFDC-41AC-9527-31AD1CA72C00}" srcOrd="2" destOrd="0" presId="urn:microsoft.com/office/officeart/2005/8/layout/orgChart1"/>
    <dgm:cxn modelId="{78A6609A-B653-4723-9AAC-ECE308F9416E}" type="presParOf" srcId="{B44DA052-8E9A-491D-A14E-8A9A142E17F2}" destId="{661E36A2-DCAE-4346-A2F6-99C70235DC67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A99F5C-3FB0-4B9A-8FBA-55273F6BE0F1}">
      <dsp:nvSpPr>
        <dsp:cNvPr id="0" name=""/>
        <dsp:cNvSpPr/>
      </dsp:nvSpPr>
      <dsp:spPr>
        <a:xfrm>
          <a:off x="968225" y="1191437"/>
          <a:ext cx="2342029" cy="406467"/>
        </a:xfrm>
        <a:custGeom>
          <a:avLst/>
          <a:gdLst/>
          <a:ahLst/>
          <a:cxnLst/>
          <a:rect l="0" t="0" r="0" b="0"/>
          <a:pathLst>
            <a:path>
              <a:moveTo>
                <a:pt x="2342029" y="0"/>
              </a:moveTo>
              <a:lnTo>
                <a:pt x="2342029" y="203233"/>
              </a:lnTo>
              <a:lnTo>
                <a:pt x="0" y="203233"/>
              </a:lnTo>
              <a:lnTo>
                <a:pt x="0" y="406467"/>
              </a:lnTo>
            </a:path>
          </a:pathLst>
        </a:custGeom>
        <a:noFill/>
        <a:ln w="10795" cap="flat" cmpd="sng" algn="ctr">
          <a:solidFill>
            <a:srgbClr val="DDDDD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4FB1151-839B-43B8-8E35-F7CF503D8D21}">
      <dsp:nvSpPr>
        <dsp:cNvPr id="0" name=""/>
        <dsp:cNvSpPr/>
      </dsp:nvSpPr>
      <dsp:spPr>
        <a:xfrm>
          <a:off x="3264535" y="1191437"/>
          <a:ext cx="91440" cy="40646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06467"/>
              </a:lnTo>
            </a:path>
          </a:pathLst>
        </a:custGeom>
        <a:noFill/>
        <a:ln w="10795" cap="flat" cmpd="sng" algn="ctr">
          <a:solidFill>
            <a:srgbClr val="DDDDD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B263692-A606-4BF8-BCA6-289FD3468108}">
      <dsp:nvSpPr>
        <dsp:cNvPr id="0" name=""/>
        <dsp:cNvSpPr/>
      </dsp:nvSpPr>
      <dsp:spPr>
        <a:xfrm>
          <a:off x="3310255" y="1191437"/>
          <a:ext cx="2342029" cy="40646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3233"/>
              </a:lnTo>
              <a:lnTo>
                <a:pt x="2342029" y="203233"/>
              </a:lnTo>
              <a:lnTo>
                <a:pt x="2342029" y="406467"/>
              </a:lnTo>
            </a:path>
          </a:pathLst>
        </a:custGeom>
        <a:noFill/>
        <a:ln w="10795" cap="flat" cmpd="sng" algn="ctr">
          <a:solidFill>
            <a:srgbClr val="DDDDD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1492784-1814-41F7-89FD-761332CE22C6}">
      <dsp:nvSpPr>
        <dsp:cNvPr id="0" name=""/>
        <dsp:cNvSpPr/>
      </dsp:nvSpPr>
      <dsp:spPr>
        <a:xfrm>
          <a:off x="1513337" y="223656"/>
          <a:ext cx="3593834" cy="967780"/>
        </a:xfrm>
        <a:prstGeom prst="rect">
          <a:avLst/>
        </a:prstGeom>
        <a:solidFill>
          <a:srgbClr val="F2C812"/>
        </a:solidFill>
        <a:ln w="10795" cap="flat" cmpd="sng" algn="ctr">
          <a:solidFill>
            <a:srgbClr val="F2C81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gradFill>
                <a:gsLst>
                  <a:gs pos="1250">
                    <a:sysClr val="windowText" lastClr="000000"/>
                  </a:gs>
                  <a:gs pos="100000">
                    <a:sysClr val="windowText" lastClr="000000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rPr>
            <a:t>Type of Data Models</a:t>
          </a:r>
        </a:p>
      </dsp:txBody>
      <dsp:txXfrm>
        <a:off x="1513337" y="223656"/>
        <a:ext cx="3593834" cy="967780"/>
      </dsp:txXfrm>
    </dsp:sp>
    <dsp:sp modelId="{24CA003F-61B9-43FD-9352-6DB2104996F3}">
      <dsp:nvSpPr>
        <dsp:cNvPr id="0" name=""/>
        <dsp:cNvSpPr/>
      </dsp:nvSpPr>
      <dsp:spPr>
        <a:xfrm>
          <a:off x="4684503" y="1597905"/>
          <a:ext cx="1935561" cy="967780"/>
        </a:xfrm>
        <a:prstGeom prst="rect">
          <a:avLst/>
        </a:prstGeom>
        <a:solidFill>
          <a:srgbClr val="F2C812"/>
        </a:solidFill>
        <a:ln w="10795" cap="flat" cmpd="sng" algn="ctr">
          <a:solidFill>
            <a:srgbClr val="F2C81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gradFill>
                <a:gsLst>
                  <a:gs pos="1250">
                    <a:sysClr val="windowText" lastClr="000000"/>
                  </a:gs>
                  <a:gs pos="100000">
                    <a:sysClr val="windowText" lastClr="000000"/>
                  </a:gs>
                </a:gsLst>
                <a:lin ang="5400000" scaled="0"/>
              </a:gradFill>
              <a:latin typeface="Segoe UI Light"/>
              <a:ea typeface="+mn-ea"/>
              <a:cs typeface="+mn-cs"/>
            </a:rPr>
            <a:t>Snowflake Schema</a:t>
          </a:r>
        </a:p>
      </dsp:txBody>
      <dsp:txXfrm>
        <a:off x="4684503" y="1597905"/>
        <a:ext cx="1935561" cy="967780"/>
      </dsp:txXfrm>
    </dsp:sp>
    <dsp:sp modelId="{E228290B-8D71-4A90-9BED-D5723C181B6F}">
      <dsp:nvSpPr>
        <dsp:cNvPr id="0" name=""/>
        <dsp:cNvSpPr/>
      </dsp:nvSpPr>
      <dsp:spPr>
        <a:xfrm>
          <a:off x="2342474" y="1597905"/>
          <a:ext cx="1935561" cy="967780"/>
        </a:xfrm>
        <a:prstGeom prst="rect">
          <a:avLst/>
        </a:prstGeom>
        <a:solidFill>
          <a:srgbClr val="F2C812"/>
        </a:solidFill>
        <a:ln w="10795" cap="flat" cmpd="sng" algn="ctr">
          <a:solidFill>
            <a:srgbClr val="F2C81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gradFill>
                <a:gsLst>
                  <a:gs pos="1250">
                    <a:sysClr val="windowText" lastClr="000000"/>
                  </a:gs>
                  <a:gs pos="100000">
                    <a:sysClr val="windowText" lastClr="000000"/>
                  </a:gs>
                </a:gsLst>
                <a:lin ang="5400000" scaled="0"/>
              </a:gradFill>
              <a:latin typeface="Segoe UI Light"/>
              <a:ea typeface="+mn-ea"/>
              <a:cs typeface="+mn-cs"/>
            </a:rPr>
            <a:t>Star Schema</a:t>
          </a:r>
        </a:p>
      </dsp:txBody>
      <dsp:txXfrm>
        <a:off x="2342474" y="1597905"/>
        <a:ext cx="1935561" cy="967780"/>
      </dsp:txXfrm>
    </dsp:sp>
    <dsp:sp modelId="{D1927631-C970-4AE1-8772-862A0562BABF}">
      <dsp:nvSpPr>
        <dsp:cNvPr id="0" name=""/>
        <dsp:cNvSpPr/>
      </dsp:nvSpPr>
      <dsp:spPr>
        <a:xfrm>
          <a:off x="444" y="1597905"/>
          <a:ext cx="1935561" cy="967780"/>
        </a:xfrm>
        <a:prstGeom prst="rect">
          <a:avLst/>
        </a:prstGeom>
        <a:solidFill>
          <a:srgbClr val="F2C812"/>
        </a:solidFill>
        <a:ln w="10795" cap="flat" cmpd="sng" algn="ctr">
          <a:solidFill>
            <a:srgbClr val="F2C81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gradFill>
                <a:gsLst>
                  <a:gs pos="1250">
                    <a:sysClr val="windowText" lastClr="000000"/>
                  </a:gs>
                  <a:gs pos="100000">
                    <a:sysClr val="windowText" lastClr="000000"/>
                  </a:gs>
                </a:gsLst>
                <a:lin ang="5400000" scaled="0"/>
              </a:gradFill>
              <a:latin typeface="Segoe UI Light"/>
              <a:ea typeface="+mn-ea"/>
              <a:cs typeface="+mn-cs"/>
            </a:rPr>
            <a:t>Flat or Denormalized</a:t>
          </a:r>
        </a:p>
      </dsp:txBody>
      <dsp:txXfrm>
        <a:off x="444" y="1597905"/>
        <a:ext cx="1935561" cy="96778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A99F5C-3FB0-4B9A-8FBA-55273F6BE0F1}">
      <dsp:nvSpPr>
        <dsp:cNvPr id="0" name=""/>
        <dsp:cNvSpPr/>
      </dsp:nvSpPr>
      <dsp:spPr>
        <a:xfrm>
          <a:off x="1289766" y="1626653"/>
          <a:ext cx="3119803" cy="541453"/>
        </a:xfrm>
        <a:custGeom>
          <a:avLst/>
          <a:gdLst/>
          <a:ahLst/>
          <a:cxnLst/>
          <a:rect l="0" t="0" r="0" b="0"/>
          <a:pathLst>
            <a:path>
              <a:moveTo>
                <a:pt x="3119803" y="0"/>
              </a:moveTo>
              <a:lnTo>
                <a:pt x="3119803" y="270726"/>
              </a:lnTo>
              <a:lnTo>
                <a:pt x="0" y="270726"/>
              </a:lnTo>
              <a:lnTo>
                <a:pt x="0" y="541453"/>
              </a:lnTo>
            </a:path>
          </a:pathLst>
        </a:custGeom>
        <a:noFill/>
        <a:ln w="1079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4FB1151-839B-43B8-8E35-F7CF503D8D21}">
      <dsp:nvSpPr>
        <dsp:cNvPr id="0" name=""/>
        <dsp:cNvSpPr/>
      </dsp:nvSpPr>
      <dsp:spPr>
        <a:xfrm>
          <a:off x="4363850" y="1626653"/>
          <a:ext cx="91440" cy="54145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41453"/>
              </a:lnTo>
            </a:path>
          </a:pathLst>
        </a:custGeom>
        <a:noFill/>
        <a:ln w="1079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B263692-A606-4BF8-BCA6-289FD3468108}">
      <dsp:nvSpPr>
        <dsp:cNvPr id="0" name=""/>
        <dsp:cNvSpPr/>
      </dsp:nvSpPr>
      <dsp:spPr>
        <a:xfrm>
          <a:off x="4409570" y="1626653"/>
          <a:ext cx="3119803" cy="5414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0726"/>
              </a:lnTo>
              <a:lnTo>
                <a:pt x="3119803" y="270726"/>
              </a:lnTo>
              <a:lnTo>
                <a:pt x="3119803" y="541453"/>
              </a:lnTo>
            </a:path>
          </a:pathLst>
        </a:custGeom>
        <a:noFill/>
        <a:ln w="1079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1492784-1814-41F7-89FD-761332CE22C6}">
      <dsp:nvSpPr>
        <dsp:cNvPr id="0" name=""/>
        <dsp:cNvSpPr/>
      </dsp:nvSpPr>
      <dsp:spPr>
        <a:xfrm>
          <a:off x="3120395" y="337478"/>
          <a:ext cx="2578349" cy="1289174"/>
        </a:xfrm>
        <a:prstGeom prst="rect">
          <a:avLst/>
        </a:prstGeom>
        <a:solidFill>
          <a:srgbClr val="F2C812"/>
        </a:solidFill>
        <a:ln w="10795" cap="flat" cmpd="sng" algn="ctr">
          <a:solidFill>
            <a:srgbClr val="F2C81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rgbClr val="505050"/>
              </a:solidFill>
            </a:rPr>
            <a:t>Three ways to write M</a:t>
          </a:r>
          <a:endParaRPr lang="en-US" sz="2400" b="1" kern="1200" dirty="0">
            <a:solidFill>
              <a:srgbClr val="505050"/>
            </a:solidFill>
            <a:latin typeface="+mj-lt"/>
            <a:ea typeface="+mn-ea"/>
            <a:cs typeface="+mn-cs"/>
          </a:endParaRPr>
        </a:p>
      </dsp:txBody>
      <dsp:txXfrm>
        <a:off x="3120395" y="337478"/>
        <a:ext cx="2578349" cy="1289174"/>
      </dsp:txXfrm>
    </dsp:sp>
    <dsp:sp modelId="{24CA003F-61B9-43FD-9352-6DB2104996F3}">
      <dsp:nvSpPr>
        <dsp:cNvPr id="0" name=""/>
        <dsp:cNvSpPr/>
      </dsp:nvSpPr>
      <dsp:spPr>
        <a:xfrm>
          <a:off x="6240198" y="2168107"/>
          <a:ext cx="2578349" cy="1289174"/>
        </a:xfrm>
        <a:prstGeom prst="rect">
          <a:avLst/>
        </a:prstGeom>
        <a:solidFill>
          <a:srgbClr val="F2C812"/>
        </a:solidFill>
        <a:ln w="10795" cap="flat" cmpd="sng" algn="ctr">
          <a:solidFill>
            <a:srgbClr val="F2C81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j-lt"/>
              <a:ea typeface="+mn-ea"/>
              <a:cs typeface="+mn-cs"/>
            </a:rPr>
            <a:t>Custom Code</a:t>
          </a:r>
        </a:p>
      </dsp:txBody>
      <dsp:txXfrm>
        <a:off x="6240198" y="2168107"/>
        <a:ext cx="2578349" cy="1289174"/>
      </dsp:txXfrm>
    </dsp:sp>
    <dsp:sp modelId="{E228290B-8D71-4A90-9BED-D5723C181B6F}">
      <dsp:nvSpPr>
        <dsp:cNvPr id="0" name=""/>
        <dsp:cNvSpPr/>
      </dsp:nvSpPr>
      <dsp:spPr>
        <a:xfrm>
          <a:off x="3120395" y="2168107"/>
          <a:ext cx="2578349" cy="1289174"/>
        </a:xfrm>
        <a:prstGeom prst="rect">
          <a:avLst/>
        </a:prstGeom>
        <a:solidFill>
          <a:srgbClr val="F2C812"/>
        </a:solidFill>
        <a:ln w="10795" cap="flat" cmpd="sng" algn="ctr">
          <a:solidFill>
            <a:srgbClr val="F2C81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j-lt"/>
              <a:ea typeface="+mn-ea"/>
              <a:cs typeface="+mn-cs"/>
            </a:rPr>
            <a:t>Click and Adjust</a:t>
          </a:r>
        </a:p>
      </dsp:txBody>
      <dsp:txXfrm>
        <a:off x="3120395" y="2168107"/>
        <a:ext cx="2578349" cy="1289174"/>
      </dsp:txXfrm>
    </dsp:sp>
    <dsp:sp modelId="{D1927631-C970-4AE1-8772-862A0562BABF}">
      <dsp:nvSpPr>
        <dsp:cNvPr id="0" name=""/>
        <dsp:cNvSpPr/>
      </dsp:nvSpPr>
      <dsp:spPr>
        <a:xfrm>
          <a:off x="592" y="2168107"/>
          <a:ext cx="2578349" cy="1289174"/>
        </a:xfrm>
        <a:prstGeom prst="rect">
          <a:avLst/>
        </a:prstGeom>
        <a:solidFill>
          <a:srgbClr val="F2C812"/>
        </a:solidFill>
        <a:ln w="10795" cap="flat" cmpd="sng" algn="ctr">
          <a:solidFill>
            <a:srgbClr val="F2C81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j-lt"/>
              <a:ea typeface="+mn-ea"/>
              <a:cs typeface="+mn-cs"/>
            </a:rPr>
            <a:t>Use the Ribbon</a:t>
          </a:r>
        </a:p>
      </dsp:txBody>
      <dsp:txXfrm>
        <a:off x="592" y="2168107"/>
        <a:ext cx="2578349" cy="128917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323134-CEB1-9C43-B6DE-74B10BFB1C0A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F17A60-5211-564C-AE51-C5EE6D827C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7173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8728E-E154-4C68-8274-8B7B69A25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61221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5A35EB-C10F-443D-80C2-0C5080E79EB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44350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5A35EB-C10F-443D-80C2-0C5080E79EB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2617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8728E-E154-4C68-8274-8B7B69A25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934128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8728E-E154-4C68-8274-8B7B69A25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14814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8728E-E154-4C68-8274-8B7B69A25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54902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8728E-E154-4C68-8274-8B7B69A25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886465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28728E-E154-4C68-8274-8B7B69A25AE8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69135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800100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28728E-E154-4C68-8274-8B7B69A25AE8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60930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28728E-E154-4C68-8274-8B7B69A25AE8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13643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28728E-E154-4C68-8274-8B7B69A25AE8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44547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28728E-E154-4C68-8274-8B7B69A25AE8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645741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26396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669335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486560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1000"/>
              </a:spcBef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422561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1" indent="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01987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16121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873980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719886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180435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99509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online delivery, you have an option to divide the content into 2 days and add the breaks accordingl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28728E-E154-4C68-8274-8B7B69A25AE8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203854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65788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14061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40220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66458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93915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73182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92795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05442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999779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3984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8303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8728E-E154-4C68-8274-8B7B69A25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984532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8728E-E154-4C68-8274-8B7B69A25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984532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8728E-E154-4C68-8274-8B7B69A25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8634296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8728E-E154-4C68-8274-8B7B69A25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246863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8728E-E154-4C68-8274-8B7B69A25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0239490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8728E-E154-4C68-8274-8B7B69A25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8179101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755792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4938450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63126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28153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7795217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8728E-E154-4C68-8274-8B7B69A25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450718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8728E-E154-4C68-8274-8B7B69A25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1747036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670014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8728E-E154-4C68-8274-8B7B69A25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8157432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8728E-E154-4C68-8274-8B7B69A25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9668192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8728E-E154-4C68-8274-8B7B69A25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790817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8728E-E154-4C68-8274-8B7B69A25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4375915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28728E-E154-4C68-8274-8B7B69A25AE8}" type="slidenum">
              <a:rPr lang="en-US" smtClean="0"/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852866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878256-368D-4B68-97C3-0D0BD40CE838}" type="slidenum">
              <a:rPr lang="en-US" smtClean="0"/>
              <a:t>7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654900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878256-368D-4B68-97C3-0D0BD40CE838}" type="slidenum">
              <a:rPr lang="en-US" smtClean="0"/>
              <a:t>7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0918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858443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7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304220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200"/>
              </a:spcBef>
              <a:spcAft>
                <a:spcPts val="1200"/>
              </a:spcAft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7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301559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200"/>
              </a:spcBef>
              <a:spcAft>
                <a:spcPts val="1200"/>
              </a:spcAft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158826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410084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 indent="0">
              <a:lnSpc>
                <a:spcPct val="107000"/>
              </a:lnSpc>
              <a:spcBef>
                <a:spcPts val="0"/>
              </a:spcBef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682430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8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662810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 indent="0">
              <a:lnSpc>
                <a:spcPct val="107000"/>
              </a:lnSpc>
              <a:spcBef>
                <a:spcPts val="0"/>
              </a:spcBef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8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2013944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 indent="0">
              <a:lnSpc>
                <a:spcPct val="107000"/>
              </a:lnSpc>
              <a:spcBef>
                <a:spcPts val="0"/>
              </a:spcBef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8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444275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8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4592399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8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3838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8728E-E154-4C68-8274-8B7B69A25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38774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8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54876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8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6290592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8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854667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9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197546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9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188499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17A60-5211-564C-AE51-C5EE6D827C53}" type="slidenum">
              <a:rPr lang="en-US" smtClean="0"/>
              <a:t>9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270550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tabLst>
                <a:tab pos="2054225" algn="l"/>
              </a:tabLst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9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975690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9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6567055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9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644919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9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6645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8728E-E154-4C68-8274-8B7B69A25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59566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28728E-E154-4C68-8274-8B7B69A25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91323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4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- Light">
    <p:bg>
      <p:bgPr>
        <a:solidFill>
          <a:schemeClr val="bg1">
            <a:alpha val="9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BFBFCF6A-71E0-4CB2-A2CD-9D1D05D4506B}"/>
              </a:ext>
            </a:extLst>
          </p:cNvPr>
          <p:cNvSpPr/>
          <p:nvPr/>
        </p:nvSpPr>
        <p:spPr>
          <a:xfrm flipV="1">
            <a:off x="0" y="0"/>
            <a:ext cx="3505200" cy="6858000"/>
          </a:xfrm>
          <a:custGeom>
            <a:avLst/>
            <a:gdLst>
              <a:gd name="connsiteX0" fmla="*/ 0 w 3505200"/>
              <a:gd name="connsiteY0" fmla="*/ 0 h 6858000"/>
              <a:gd name="connsiteX1" fmla="*/ 1978706 w 3505200"/>
              <a:gd name="connsiteY1" fmla="*/ 0 h 6858000"/>
              <a:gd name="connsiteX2" fmla="*/ 3505200 w 3505200"/>
              <a:gd name="connsiteY2" fmla="*/ 6858000 h 6858000"/>
              <a:gd name="connsiteX3" fmla="*/ 0 w 3505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05200" h="6858000">
                <a:moveTo>
                  <a:pt x="0" y="0"/>
                </a:moveTo>
                <a:lnTo>
                  <a:pt x="1978706" y="0"/>
                </a:lnTo>
                <a:lnTo>
                  <a:pt x="35052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64000">
                <a:srgbClr val="006FC6"/>
              </a:gs>
              <a:gs pos="96000">
                <a:schemeClr val="accent4">
                  <a:alpha val="91000"/>
                </a:schemeClr>
              </a:gs>
              <a:gs pos="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0B3A690-B3A5-4178-89C6-46FF4B6146CB}"/>
              </a:ext>
            </a:extLst>
          </p:cNvPr>
          <p:cNvGrpSpPr/>
          <p:nvPr/>
        </p:nvGrpSpPr>
        <p:grpSpPr>
          <a:xfrm>
            <a:off x="1568842" y="1529830"/>
            <a:ext cx="6750978" cy="3798340"/>
            <a:chOff x="1568842" y="1287695"/>
            <a:chExt cx="6750978" cy="379834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7E990F-7E98-4AA2-85D4-1DB1EF6784C6}"/>
                </a:ext>
              </a:extLst>
            </p:cNvPr>
            <p:cNvSpPr/>
            <p:nvPr userDrawn="1"/>
          </p:nvSpPr>
          <p:spPr>
            <a:xfrm>
              <a:off x="1568842" y="1287695"/>
              <a:ext cx="6750978" cy="3798340"/>
            </a:xfrm>
            <a:prstGeom prst="rect">
              <a:avLst/>
            </a:prstGeom>
            <a:solidFill>
              <a:schemeClr val="bg1"/>
            </a:solidFill>
            <a:ln w="25400">
              <a:noFill/>
              <a:headEnd type="triangle"/>
              <a:tailEnd type="none"/>
            </a:ln>
            <a:effectLst>
              <a:outerShdw blurRad="203200" dist="50800" dir="2400000" sx="102000" sy="102000" algn="tl" rotWithShape="0">
                <a:schemeClr val="bg1">
                  <a:lumMod val="50000"/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lvl="0" algn="ctr"/>
              <a:endParaRPr lang="en-US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9B3E32B-D281-4874-9BA9-6386028CEDDF}"/>
                </a:ext>
              </a:extLst>
            </p:cNvPr>
            <p:cNvSpPr/>
            <p:nvPr userDrawn="1"/>
          </p:nvSpPr>
          <p:spPr>
            <a:xfrm>
              <a:off x="1732669" y="1433013"/>
              <a:ext cx="6423324" cy="3507704"/>
            </a:xfrm>
            <a:prstGeom prst="rect">
              <a:avLst/>
            </a:prstGeom>
            <a:noFill/>
            <a:ln w="3175">
              <a:solidFill>
                <a:schemeClr val="accent2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79970367-21EB-4524-87D0-64F48DE91F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86357" y="2808501"/>
            <a:ext cx="5670632" cy="1219286"/>
          </a:xfrm>
        </p:spPr>
        <p:txBody>
          <a:bodyPr anchor="t" anchorCtr="0"/>
          <a:lstStyle>
            <a:lvl1pPr>
              <a:defRPr sz="4400" cap="none" spc="-100" baseline="0">
                <a:solidFill>
                  <a:srgbClr val="252F38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Add Title Here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8FF8EBD2-C35F-47C1-BC90-1B66384203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86357" y="2211115"/>
            <a:ext cx="4834028" cy="397700"/>
          </a:xfrm>
          <a:noFill/>
        </p:spPr>
        <p:txBody>
          <a:bodyPr anchor="b">
            <a:noAutofit/>
          </a:bodyPr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lang="en-US" sz="2000" kern="1200" spc="0" baseline="0" dirty="0">
                <a:solidFill>
                  <a:srgbClr val="92979B"/>
                </a:solidFill>
                <a:latin typeface="+mj-lt"/>
                <a:ea typeface="+mn-ea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IN" dirty="0"/>
              <a:t>TEXT</a:t>
            </a:r>
            <a:endParaRPr lang="en-US" dirty="0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3B47C9E8-3F27-4DFA-B981-F615553EBA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86357" y="4173105"/>
            <a:ext cx="4834028" cy="397700"/>
          </a:xfrm>
          <a:noFill/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800" kern="1200" spc="0" baseline="0" dirty="0">
                <a:solidFill>
                  <a:srgbClr val="7F9FD0"/>
                </a:solidFill>
                <a:latin typeface="+mn-lt"/>
                <a:ea typeface="+mn-ea"/>
                <a:cs typeface="Segoe UI Light" panose="020B0502040204020203" pitchFamily="34" charset="0"/>
              </a:defRPr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</a:pPr>
            <a:r>
              <a:rPr lang="en-IN" dirty="0"/>
              <a:t>SUBTITLE</a:t>
            </a:r>
            <a:endParaRPr lang="en-US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D03C20A-8BBF-4953-9E12-0C9789B95946}"/>
              </a:ext>
            </a:extLst>
          </p:cNvPr>
          <p:cNvGrpSpPr/>
          <p:nvPr/>
        </p:nvGrpSpPr>
        <p:grpSpPr>
          <a:xfrm>
            <a:off x="9699222" y="5716003"/>
            <a:ext cx="1465674" cy="460138"/>
            <a:chOff x="9699222" y="5716003"/>
            <a:chExt cx="1465674" cy="460138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2E6D9B1-70BC-488B-AB63-12D552B7F87C}"/>
                </a:ext>
              </a:extLst>
            </p:cNvPr>
            <p:cNvSpPr/>
            <p:nvPr/>
          </p:nvSpPr>
          <p:spPr>
            <a:xfrm>
              <a:off x="10010229" y="5716003"/>
              <a:ext cx="80972" cy="80972"/>
            </a:xfrm>
            <a:custGeom>
              <a:avLst/>
              <a:gdLst>
                <a:gd name="connsiteX0" fmla="*/ 163259 w 323850"/>
                <a:gd name="connsiteY0" fmla="*/ 7144 h 323850"/>
                <a:gd name="connsiteX1" fmla="*/ 7144 w 323850"/>
                <a:gd name="connsiteY1" fmla="*/ 163544 h 323850"/>
                <a:gd name="connsiteX2" fmla="*/ 163259 w 323850"/>
                <a:gd name="connsiteY2" fmla="*/ 319564 h 323850"/>
                <a:gd name="connsiteX3" fmla="*/ 319373 w 323850"/>
                <a:gd name="connsiteY3" fmla="*/ 163544 h 323850"/>
                <a:gd name="connsiteX4" fmla="*/ 163259 w 323850"/>
                <a:gd name="connsiteY4" fmla="*/ 7144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323850">
                  <a:moveTo>
                    <a:pt x="163259" y="7144"/>
                  </a:moveTo>
                  <a:cubicBezTo>
                    <a:pt x="76962" y="7144"/>
                    <a:pt x="7144" y="77153"/>
                    <a:pt x="7144" y="163544"/>
                  </a:cubicBezTo>
                  <a:cubicBezTo>
                    <a:pt x="7144" y="249650"/>
                    <a:pt x="76867" y="319564"/>
                    <a:pt x="163259" y="319564"/>
                  </a:cubicBezTo>
                  <a:cubicBezTo>
                    <a:pt x="249364" y="319564"/>
                    <a:pt x="319373" y="249746"/>
                    <a:pt x="319373" y="163544"/>
                  </a:cubicBezTo>
                  <a:cubicBezTo>
                    <a:pt x="319373" y="77153"/>
                    <a:pt x="249364" y="7144"/>
                    <a:pt x="163259" y="7144"/>
                  </a:cubicBez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3ECA5B2-774A-4B25-9D8E-2C4A71A23CC6}"/>
                </a:ext>
              </a:extLst>
            </p:cNvPr>
            <p:cNvSpPr/>
            <p:nvPr/>
          </p:nvSpPr>
          <p:spPr>
            <a:xfrm>
              <a:off x="9699222" y="5766920"/>
              <a:ext cx="319127" cy="340560"/>
            </a:xfrm>
            <a:custGeom>
              <a:avLst/>
              <a:gdLst>
                <a:gd name="connsiteX0" fmla="*/ 1064804 w 1276350"/>
                <a:gd name="connsiteY0" fmla="*/ 460439 h 1362075"/>
                <a:gd name="connsiteX1" fmla="*/ 1259781 w 1276350"/>
                <a:gd name="connsiteY1" fmla="*/ 203741 h 1362075"/>
                <a:gd name="connsiteX2" fmla="*/ 1261876 w 1276350"/>
                <a:gd name="connsiteY2" fmla="*/ 158687 h 1362075"/>
                <a:gd name="connsiteX3" fmla="*/ 1179009 w 1276350"/>
                <a:gd name="connsiteY3" fmla="*/ 25814 h 1362075"/>
                <a:gd name="connsiteX4" fmla="*/ 1145004 w 1276350"/>
                <a:gd name="connsiteY4" fmla="*/ 7145 h 1362075"/>
                <a:gd name="connsiteX5" fmla="*/ 787531 w 1276350"/>
                <a:gd name="connsiteY5" fmla="*/ 9621 h 1362075"/>
                <a:gd name="connsiteX6" fmla="*/ 787531 w 1276350"/>
                <a:gd name="connsiteY6" fmla="*/ 9621 h 1362075"/>
                <a:gd name="connsiteX7" fmla="*/ 591507 w 1276350"/>
                <a:gd name="connsiteY7" fmla="*/ 9431 h 1362075"/>
                <a:gd name="connsiteX8" fmla="*/ 581315 w 1276350"/>
                <a:gd name="connsiteY8" fmla="*/ 38387 h 1362075"/>
                <a:gd name="connsiteX9" fmla="*/ 636274 w 1276350"/>
                <a:gd name="connsiteY9" fmla="*/ 82678 h 1362075"/>
                <a:gd name="connsiteX10" fmla="*/ 662944 w 1276350"/>
                <a:gd name="connsiteY10" fmla="*/ 94965 h 1362075"/>
                <a:gd name="connsiteX11" fmla="*/ 1003368 w 1276350"/>
                <a:gd name="connsiteY11" fmla="*/ 159068 h 1362075"/>
                <a:gd name="connsiteX12" fmla="*/ 582172 w 1276350"/>
                <a:gd name="connsiteY12" fmla="*/ 611601 h 1362075"/>
                <a:gd name="connsiteX13" fmla="*/ 27817 w 1276350"/>
                <a:gd name="connsiteY13" fmla="*/ 690373 h 1362075"/>
                <a:gd name="connsiteX14" fmla="*/ 13625 w 1276350"/>
                <a:gd name="connsiteY14" fmla="*/ 730473 h 1362075"/>
                <a:gd name="connsiteX15" fmla="*/ 67727 w 1276350"/>
                <a:gd name="connsiteY15" fmla="*/ 788576 h 1362075"/>
                <a:gd name="connsiteX16" fmla="*/ 109256 w 1276350"/>
                <a:gd name="connsiteY16" fmla="*/ 806197 h 1362075"/>
                <a:gd name="connsiteX17" fmla="*/ 644370 w 1276350"/>
                <a:gd name="connsiteY17" fmla="*/ 797434 h 1362075"/>
                <a:gd name="connsiteX18" fmla="*/ 700473 w 1276350"/>
                <a:gd name="connsiteY18" fmla="*/ 781146 h 1362075"/>
                <a:gd name="connsiteX19" fmla="*/ 828679 w 1276350"/>
                <a:gd name="connsiteY19" fmla="*/ 703041 h 1362075"/>
                <a:gd name="connsiteX20" fmla="*/ 1099284 w 1276350"/>
                <a:gd name="connsiteY20" fmla="*/ 917830 h 1362075"/>
                <a:gd name="connsiteX21" fmla="*/ 1118715 w 1276350"/>
                <a:gd name="connsiteY21" fmla="*/ 952025 h 1362075"/>
                <a:gd name="connsiteX22" fmla="*/ 1170246 w 1276350"/>
                <a:gd name="connsiteY22" fmla="*/ 1331310 h 1362075"/>
                <a:gd name="connsiteX23" fmla="*/ 1205964 w 1276350"/>
                <a:gd name="connsiteY23" fmla="*/ 1362552 h 1362075"/>
                <a:gd name="connsiteX24" fmla="*/ 1233492 w 1276350"/>
                <a:gd name="connsiteY24" fmla="*/ 1362552 h 1362075"/>
                <a:gd name="connsiteX25" fmla="*/ 1269591 w 1276350"/>
                <a:gd name="connsiteY25" fmla="*/ 1326643 h 1362075"/>
                <a:gd name="connsiteX26" fmla="*/ 1271211 w 1276350"/>
                <a:gd name="connsiteY26" fmla="*/ 905733 h 1362075"/>
                <a:gd name="connsiteX27" fmla="*/ 1251399 w 1276350"/>
                <a:gd name="connsiteY27" fmla="*/ 845440 h 1362075"/>
                <a:gd name="connsiteX28" fmla="*/ 1015274 w 1276350"/>
                <a:gd name="connsiteY28" fmla="*/ 527210 h 1362075"/>
                <a:gd name="connsiteX29" fmla="*/ 1064804 w 1276350"/>
                <a:gd name="connsiteY29" fmla="*/ 460439 h 1362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276350" h="1362075">
                  <a:moveTo>
                    <a:pt x="1064804" y="460439"/>
                  </a:moveTo>
                  <a:lnTo>
                    <a:pt x="1259781" y="203741"/>
                  </a:lnTo>
                  <a:cubicBezTo>
                    <a:pt x="1269782" y="190596"/>
                    <a:pt x="1270544" y="172689"/>
                    <a:pt x="1261876" y="158687"/>
                  </a:cubicBezTo>
                  <a:lnTo>
                    <a:pt x="1179009" y="25814"/>
                  </a:lnTo>
                  <a:cubicBezTo>
                    <a:pt x="1171674" y="14098"/>
                    <a:pt x="1158816" y="7049"/>
                    <a:pt x="1145004" y="7145"/>
                  </a:cubicBezTo>
                  <a:lnTo>
                    <a:pt x="787531" y="9621"/>
                  </a:lnTo>
                  <a:lnTo>
                    <a:pt x="787531" y="9621"/>
                  </a:lnTo>
                  <a:lnTo>
                    <a:pt x="591507" y="9431"/>
                  </a:lnTo>
                  <a:cubicBezTo>
                    <a:pt x="576171" y="9431"/>
                    <a:pt x="569313" y="28671"/>
                    <a:pt x="581315" y="38387"/>
                  </a:cubicBezTo>
                  <a:lnTo>
                    <a:pt x="636274" y="82678"/>
                  </a:lnTo>
                  <a:cubicBezTo>
                    <a:pt x="643989" y="88869"/>
                    <a:pt x="653133" y="93155"/>
                    <a:pt x="662944" y="94965"/>
                  </a:cubicBezTo>
                  <a:lnTo>
                    <a:pt x="1003368" y="159068"/>
                  </a:lnTo>
                  <a:lnTo>
                    <a:pt x="582172" y="611601"/>
                  </a:lnTo>
                  <a:lnTo>
                    <a:pt x="27817" y="690373"/>
                  </a:lnTo>
                  <a:cubicBezTo>
                    <a:pt x="8576" y="693135"/>
                    <a:pt x="385" y="716281"/>
                    <a:pt x="13625" y="730473"/>
                  </a:cubicBezTo>
                  <a:lnTo>
                    <a:pt x="67727" y="788576"/>
                  </a:lnTo>
                  <a:cubicBezTo>
                    <a:pt x="78395" y="800101"/>
                    <a:pt x="93540" y="806483"/>
                    <a:pt x="109256" y="806197"/>
                  </a:cubicBezTo>
                  <a:lnTo>
                    <a:pt x="644370" y="797434"/>
                  </a:lnTo>
                  <a:cubicBezTo>
                    <a:pt x="664182" y="797148"/>
                    <a:pt x="683518" y="791529"/>
                    <a:pt x="700473" y="781146"/>
                  </a:cubicBezTo>
                  <a:lnTo>
                    <a:pt x="828679" y="703041"/>
                  </a:lnTo>
                  <a:lnTo>
                    <a:pt x="1099284" y="917830"/>
                  </a:lnTo>
                  <a:cubicBezTo>
                    <a:pt x="1109952" y="926307"/>
                    <a:pt x="1116906" y="938499"/>
                    <a:pt x="1118715" y="952025"/>
                  </a:cubicBezTo>
                  <a:lnTo>
                    <a:pt x="1170246" y="1331310"/>
                  </a:lnTo>
                  <a:cubicBezTo>
                    <a:pt x="1172627" y="1349217"/>
                    <a:pt x="1187962" y="1362552"/>
                    <a:pt x="1205964" y="1362552"/>
                  </a:cubicBezTo>
                  <a:lnTo>
                    <a:pt x="1233492" y="1362552"/>
                  </a:lnTo>
                  <a:cubicBezTo>
                    <a:pt x="1253399" y="1362552"/>
                    <a:pt x="1269496" y="1346455"/>
                    <a:pt x="1269591" y="1326643"/>
                  </a:cubicBezTo>
                  <a:lnTo>
                    <a:pt x="1271211" y="905733"/>
                  </a:lnTo>
                  <a:cubicBezTo>
                    <a:pt x="1271306" y="884016"/>
                    <a:pt x="1264353" y="862871"/>
                    <a:pt x="1251399" y="845440"/>
                  </a:cubicBezTo>
                  <a:lnTo>
                    <a:pt x="1015274" y="527210"/>
                  </a:lnTo>
                  <a:lnTo>
                    <a:pt x="1064804" y="460439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8BBFEBF-DA14-4213-B08A-FFBD9C588A80}"/>
                </a:ext>
              </a:extLst>
            </p:cNvPr>
            <p:cNvSpPr/>
            <p:nvPr/>
          </p:nvSpPr>
          <p:spPr>
            <a:xfrm>
              <a:off x="10167744" y="5779614"/>
              <a:ext cx="192905" cy="238154"/>
            </a:xfrm>
            <a:custGeom>
              <a:avLst/>
              <a:gdLst>
                <a:gd name="connsiteX0" fmla="*/ 538163 w 771525"/>
                <a:gd name="connsiteY0" fmla="*/ 946499 h 952500"/>
                <a:gd name="connsiteX1" fmla="*/ 353663 w 771525"/>
                <a:gd name="connsiteY1" fmla="*/ 612648 h 952500"/>
                <a:gd name="connsiteX2" fmla="*/ 207169 w 771525"/>
                <a:gd name="connsiteY2" fmla="*/ 612648 h 952500"/>
                <a:gd name="connsiteX3" fmla="*/ 207169 w 771525"/>
                <a:gd name="connsiteY3" fmla="*/ 946404 h 952500"/>
                <a:gd name="connsiteX4" fmla="*/ 7144 w 771525"/>
                <a:gd name="connsiteY4" fmla="*/ 946404 h 952500"/>
                <a:gd name="connsiteX5" fmla="*/ 7144 w 771525"/>
                <a:gd name="connsiteY5" fmla="*/ 7144 h 952500"/>
                <a:gd name="connsiteX6" fmla="*/ 446532 w 771525"/>
                <a:gd name="connsiteY6" fmla="*/ 7144 h 952500"/>
                <a:gd name="connsiteX7" fmla="*/ 763429 w 771525"/>
                <a:gd name="connsiteY7" fmla="*/ 309944 h 952500"/>
                <a:gd name="connsiteX8" fmla="*/ 556451 w 771525"/>
                <a:gd name="connsiteY8" fmla="*/ 588836 h 952500"/>
                <a:gd name="connsiteX9" fmla="*/ 769144 w 771525"/>
                <a:gd name="connsiteY9" fmla="*/ 946595 h 952500"/>
                <a:gd name="connsiteX10" fmla="*/ 538163 w 771525"/>
                <a:gd name="connsiteY10" fmla="*/ 946595 h 952500"/>
                <a:gd name="connsiteX11" fmla="*/ 557879 w 771525"/>
                <a:gd name="connsiteY11" fmla="*/ 308515 h 952500"/>
                <a:gd name="connsiteX12" fmla="*/ 418433 w 771525"/>
                <a:gd name="connsiteY12" fmla="*/ 183166 h 952500"/>
                <a:gd name="connsiteX13" fmla="*/ 207169 w 771525"/>
                <a:gd name="connsiteY13" fmla="*/ 183166 h 952500"/>
                <a:gd name="connsiteX14" fmla="*/ 207169 w 771525"/>
                <a:gd name="connsiteY14" fmla="*/ 436626 h 952500"/>
                <a:gd name="connsiteX15" fmla="*/ 418433 w 771525"/>
                <a:gd name="connsiteY15" fmla="*/ 436626 h 952500"/>
                <a:gd name="connsiteX16" fmla="*/ 557879 w 771525"/>
                <a:gd name="connsiteY16" fmla="*/ 308515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71525" h="952500">
                  <a:moveTo>
                    <a:pt x="538163" y="946499"/>
                  </a:moveTo>
                  <a:lnTo>
                    <a:pt x="353663" y="612648"/>
                  </a:lnTo>
                  <a:lnTo>
                    <a:pt x="207169" y="612648"/>
                  </a:lnTo>
                  <a:lnTo>
                    <a:pt x="207169" y="946404"/>
                  </a:lnTo>
                  <a:lnTo>
                    <a:pt x="7144" y="946404"/>
                  </a:lnTo>
                  <a:lnTo>
                    <a:pt x="7144" y="7144"/>
                  </a:lnTo>
                  <a:lnTo>
                    <a:pt x="446532" y="7144"/>
                  </a:lnTo>
                  <a:cubicBezTo>
                    <a:pt x="642271" y="7144"/>
                    <a:pt x="763429" y="135255"/>
                    <a:pt x="763429" y="309944"/>
                  </a:cubicBezTo>
                  <a:cubicBezTo>
                    <a:pt x="763429" y="474726"/>
                    <a:pt x="657797" y="564833"/>
                    <a:pt x="556451" y="588836"/>
                  </a:cubicBezTo>
                  <a:lnTo>
                    <a:pt x="769144" y="946595"/>
                  </a:lnTo>
                  <a:lnTo>
                    <a:pt x="538163" y="946595"/>
                  </a:lnTo>
                  <a:close/>
                  <a:moveTo>
                    <a:pt x="557879" y="308515"/>
                  </a:moveTo>
                  <a:cubicBezTo>
                    <a:pt x="557879" y="231077"/>
                    <a:pt x="497300" y="183166"/>
                    <a:pt x="418433" y="183166"/>
                  </a:cubicBezTo>
                  <a:lnTo>
                    <a:pt x="207169" y="183166"/>
                  </a:lnTo>
                  <a:lnTo>
                    <a:pt x="207169" y="436626"/>
                  </a:lnTo>
                  <a:lnTo>
                    <a:pt x="418433" y="436626"/>
                  </a:lnTo>
                  <a:cubicBezTo>
                    <a:pt x="497300" y="436626"/>
                    <a:pt x="557879" y="388715"/>
                    <a:pt x="557879" y="308515"/>
                  </a:cubicBez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1B44E1E-A940-4B1B-ACF2-206AC1F4ABEE}"/>
                </a:ext>
              </a:extLst>
            </p:cNvPr>
            <p:cNvSpPr/>
            <p:nvPr/>
          </p:nvSpPr>
          <p:spPr>
            <a:xfrm>
              <a:off x="10394181" y="5779614"/>
              <a:ext cx="169090" cy="238154"/>
            </a:xfrm>
            <a:custGeom>
              <a:avLst/>
              <a:gdLst>
                <a:gd name="connsiteX0" fmla="*/ 7144 w 676275"/>
                <a:gd name="connsiteY0" fmla="*/ 946499 h 952500"/>
                <a:gd name="connsiteX1" fmla="*/ 7144 w 676275"/>
                <a:gd name="connsiteY1" fmla="*/ 7144 h 952500"/>
                <a:gd name="connsiteX2" fmla="*/ 671894 w 676275"/>
                <a:gd name="connsiteY2" fmla="*/ 7144 h 952500"/>
                <a:gd name="connsiteX3" fmla="*/ 671894 w 676275"/>
                <a:gd name="connsiteY3" fmla="*/ 183166 h 952500"/>
                <a:gd name="connsiteX4" fmla="*/ 207169 w 676275"/>
                <a:gd name="connsiteY4" fmla="*/ 183166 h 952500"/>
                <a:gd name="connsiteX5" fmla="*/ 207169 w 676275"/>
                <a:gd name="connsiteY5" fmla="*/ 380333 h 952500"/>
                <a:gd name="connsiteX6" fmla="*/ 662083 w 676275"/>
                <a:gd name="connsiteY6" fmla="*/ 380333 h 952500"/>
                <a:gd name="connsiteX7" fmla="*/ 662083 w 676275"/>
                <a:gd name="connsiteY7" fmla="*/ 556355 h 952500"/>
                <a:gd name="connsiteX8" fmla="*/ 207169 w 676275"/>
                <a:gd name="connsiteY8" fmla="*/ 556355 h 952500"/>
                <a:gd name="connsiteX9" fmla="*/ 207169 w 676275"/>
                <a:gd name="connsiteY9" fmla="*/ 770382 h 952500"/>
                <a:gd name="connsiteX10" fmla="*/ 671894 w 676275"/>
                <a:gd name="connsiteY10" fmla="*/ 770382 h 952500"/>
                <a:gd name="connsiteX11" fmla="*/ 671894 w 676275"/>
                <a:gd name="connsiteY11" fmla="*/ 946404 h 952500"/>
                <a:gd name="connsiteX12" fmla="*/ 7144 w 676275"/>
                <a:gd name="connsiteY12" fmla="*/ 946404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952500">
                  <a:moveTo>
                    <a:pt x="7144" y="946499"/>
                  </a:moveTo>
                  <a:lnTo>
                    <a:pt x="7144" y="7144"/>
                  </a:lnTo>
                  <a:lnTo>
                    <a:pt x="671894" y="7144"/>
                  </a:lnTo>
                  <a:lnTo>
                    <a:pt x="671894" y="183166"/>
                  </a:lnTo>
                  <a:lnTo>
                    <a:pt x="207169" y="183166"/>
                  </a:lnTo>
                  <a:lnTo>
                    <a:pt x="207169" y="380333"/>
                  </a:lnTo>
                  <a:lnTo>
                    <a:pt x="662083" y="380333"/>
                  </a:lnTo>
                  <a:lnTo>
                    <a:pt x="662083" y="556355"/>
                  </a:lnTo>
                  <a:lnTo>
                    <a:pt x="207169" y="556355"/>
                  </a:lnTo>
                  <a:lnTo>
                    <a:pt x="207169" y="770382"/>
                  </a:lnTo>
                  <a:lnTo>
                    <a:pt x="671894" y="770382"/>
                  </a:lnTo>
                  <a:lnTo>
                    <a:pt x="671894" y="946404"/>
                  </a:lnTo>
                  <a:lnTo>
                    <a:pt x="7144" y="946404"/>
                  </a:ln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0A6F8DD-8AEF-465D-BC8B-C79FE002A874}"/>
                </a:ext>
              </a:extLst>
            </p:cNvPr>
            <p:cNvSpPr/>
            <p:nvPr/>
          </p:nvSpPr>
          <p:spPr>
            <a:xfrm>
              <a:off x="10599446" y="5779614"/>
              <a:ext cx="190523" cy="238154"/>
            </a:xfrm>
            <a:custGeom>
              <a:avLst/>
              <a:gdLst>
                <a:gd name="connsiteX0" fmla="*/ 7144 w 762000"/>
                <a:gd name="connsiteY0" fmla="*/ 946499 h 952500"/>
                <a:gd name="connsiteX1" fmla="*/ 7144 w 762000"/>
                <a:gd name="connsiteY1" fmla="*/ 7144 h 952500"/>
                <a:gd name="connsiteX2" fmla="*/ 446532 w 762000"/>
                <a:gd name="connsiteY2" fmla="*/ 7144 h 952500"/>
                <a:gd name="connsiteX3" fmla="*/ 762000 w 762000"/>
                <a:gd name="connsiteY3" fmla="*/ 309944 h 952500"/>
                <a:gd name="connsiteX4" fmla="*/ 446532 w 762000"/>
                <a:gd name="connsiteY4" fmla="*/ 611315 h 952500"/>
                <a:gd name="connsiteX5" fmla="*/ 207074 w 762000"/>
                <a:gd name="connsiteY5" fmla="*/ 611315 h 952500"/>
                <a:gd name="connsiteX6" fmla="*/ 207074 w 762000"/>
                <a:gd name="connsiteY6" fmla="*/ 946499 h 952500"/>
                <a:gd name="connsiteX7" fmla="*/ 7144 w 762000"/>
                <a:gd name="connsiteY7" fmla="*/ 946499 h 952500"/>
                <a:gd name="connsiteX8" fmla="*/ 557784 w 762000"/>
                <a:gd name="connsiteY8" fmla="*/ 309848 h 952500"/>
                <a:gd name="connsiteX9" fmla="*/ 418338 w 762000"/>
                <a:gd name="connsiteY9" fmla="*/ 183071 h 952500"/>
                <a:gd name="connsiteX10" fmla="*/ 207074 w 762000"/>
                <a:gd name="connsiteY10" fmla="*/ 183071 h 952500"/>
                <a:gd name="connsiteX11" fmla="*/ 207074 w 762000"/>
                <a:gd name="connsiteY11" fmla="*/ 435197 h 952500"/>
                <a:gd name="connsiteX12" fmla="*/ 418338 w 762000"/>
                <a:gd name="connsiteY12" fmla="*/ 435197 h 952500"/>
                <a:gd name="connsiteX13" fmla="*/ 557784 w 762000"/>
                <a:gd name="connsiteY13" fmla="*/ 309848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62000" h="952500">
                  <a:moveTo>
                    <a:pt x="7144" y="946499"/>
                  </a:moveTo>
                  <a:lnTo>
                    <a:pt x="7144" y="7144"/>
                  </a:lnTo>
                  <a:lnTo>
                    <a:pt x="446532" y="7144"/>
                  </a:lnTo>
                  <a:cubicBezTo>
                    <a:pt x="650748" y="7144"/>
                    <a:pt x="762000" y="145161"/>
                    <a:pt x="762000" y="309944"/>
                  </a:cubicBezTo>
                  <a:cubicBezTo>
                    <a:pt x="762000" y="473297"/>
                    <a:pt x="649319" y="611315"/>
                    <a:pt x="446532" y="611315"/>
                  </a:cubicBezTo>
                  <a:lnTo>
                    <a:pt x="207074" y="611315"/>
                  </a:lnTo>
                  <a:lnTo>
                    <a:pt x="207074" y="946499"/>
                  </a:lnTo>
                  <a:lnTo>
                    <a:pt x="7144" y="946499"/>
                  </a:lnTo>
                  <a:close/>
                  <a:moveTo>
                    <a:pt x="557784" y="309848"/>
                  </a:moveTo>
                  <a:cubicBezTo>
                    <a:pt x="557784" y="230981"/>
                    <a:pt x="497205" y="183071"/>
                    <a:pt x="418338" y="183071"/>
                  </a:cubicBezTo>
                  <a:lnTo>
                    <a:pt x="207074" y="183071"/>
                  </a:lnTo>
                  <a:lnTo>
                    <a:pt x="207074" y="435197"/>
                  </a:lnTo>
                  <a:lnTo>
                    <a:pt x="418338" y="435197"/>
                  </a:lnTo>
                  <a:cubicBezTo>
                    <a:pt x="497300" y="435197"/>
                    <a:pt x="557784" y="387382"/>
                    <a:pt x="557784" y="309848"/>
                  </a:cubicBez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F3A4F70-6063-4F20-8EA2-D72D144A8788}"/>
                </a:ext>
              </a:extLst>
            </p:cNvPr>
            <p:cNvSpPr/>
            <p:nvPr/>
          </p:nvSpPr>
          <p:spPr>
            <a:xfrm>
              <a:off x="10817405" y="5779614"/>
              <a:ext cx="152419" cy="238154"/>
            </a:xfrm>
            <a:custGeom>
              <a:avLst/>
              <a:gdLst>
                <a:gd name="connsiteX0" fmla="*/ 7144 w 609600"/>
                <a:gd name="connsiteY0" fmla="*/ 946499 h 952500"/>
                <a:gd name="connsiteX1" fmla="*/ 7144 w 609600"/>
                <a:gd name="connsiteY1" fmla="*/ 7144 h 952500"/>
                <a:gd name="connsiteX2" fmla="*/ 208502 w 609600"/>
                <a:gd name="connsiteY2" fmla="*/ 7144 h 952500"/>
                <a:gd name="connsiteX3" fmla="*/ 208502 w 609600"/>
                <a:gd name="connsiteY3" fmla="*/ 770477 h 952500"/>
                <a:gd name="connsiteX4" fmla="*/ 605694 w 609600"/>
                <a:gd name="connsiteY4" fmla="*/ 770477 h 952500"/>
                <a:gd name="connsiteX5" fmla="*/ 605694 w 609600"/>
                <a:gd name="connsiteY5" fmla="*/ 946499 h 952500"/>
                <a:gd name="connsiteX6" fmla="*/ 7144 w 609600"/>
                <a:gd name="connsiteY6" fmla="*/ 946499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9600" h="952500">
                  <a:moveTo>
                    <a:pt x="7144" y="946499"/>
                  </a:moveTo>
                  <a:lnTo>
                    <a:pt x="7144" y="7144"/>
                  </a:lnTo>
                  <a:lnTo>
                    <a:pt x="208502" y="7144"/>
                  </a:lnTo>
                  <a:lnTo>
                    <a:pt x="208502" y="770477"/>
                  </a:lnTo>
                  <a:lnTo>
                    <a:pt x="605694" y="770477"/>
                  </a:lnTo>
                  <a:lnTo>
                    <a:pt x="605694" y="946499"/>
                  </a:lnTo>
                  <a:lnTo>
                    <a:pt x="7144" y="946499"/>
                  </a:ln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91D5518-2665-4195-A8F8-3264F899BC77}"/>
                </a:ext>
              </a:extLst>
            </p:cNvPr>
            <p:cNvSpPr/>
            <p:nvPr/>
          </p:nvSpPr>
          <p:spPr>
            <a:xfrm>
              <a:off x="10931505" y="5779590"/>
              <a:ext cx="233391" cy="238154"/>
            </a:xfrm>
            <a:custGeom>
              <a:avLst/>
              <a:gdLst>
                <a:gd name="connsiteX0" fmla="*/ 367665 w 933450"/>
                <a:gd name="connsiteY0" fmla="*/ 946595 h 952500"/>
                <a:gd name="connsiteX1" fmla="*/ 367665 w 933450"/>
                <a:gd name="connsiteY1" fmla="*/ 562070 h 952500"/>
                <a:gd name="connsiteX2" fmla="*/ 7144 w 933450"/>
                <a:gd name="connsiteY2" fmla="*/ 7144 h 952500"/>
                <a:gd name="connsiteX3" fmla="*/ 235268 w 933450"/>
                <a:gd name="connsiteY3" fmla="*/ 7144 h 952500"/>
                <a:gd name="connsiteX4" fmla="*/ 467678 w 933450"/>
                <a:gd name="connsiteY4" fmla="*/ 383191 h 952500"/>
                <a:gd name="connsiteX5" fmla="*/ 700088 w 933450"/>
                <a:gd name="connsiteY5" fmla="*/ 7144 h 952500"/>
                <a:gd name="connsiteX6" fmla="*/ 926878 w 933450"/>
                <a:gd name="connsiteY6" fmla="*/ 7144 h 952500"/>
                <a:gd name="connsiteX7" fmla="*/ 567786 w 933450"/>
                <a:gd name="connsiteY7" fmla="*/ 562070 h 952500"/>
                <a:gd name="connsiteX8" fmla="*/ 567786 w 933450"/>
                <a:gd name="connsiteY8" fmla="*/ 946499 h 952500"/>
                <a:gd name="connsiteX9" fmla="*/ 367665 w 933450"/>
                <a:gd name="connsiteY9" fmla="*/ 946499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3450" h="952500">
                  <a:moveTo>
                    <a:pt x="367665" y="946595"/>
                  </a:moveTo>
                  <a:lnTo>
                    <a:pt x="367665" y="562070"/>
                  </a:lnTo>
                  <a:lnTo>
                    <a:pt x="7144" y="7144"/>
                  </a:lnTo>
                  <a:lnTo>
                    <a:pt x="235268" y="7144"/>
                  </a:lnTo>
                  <a:lnTo>
                    <a:pt x="467678" y="383191"/>
                  </a:lnTo>
                  <a:lnTo>
                    <a:pt x="700088" y="7144"/>
                  </a:lnTo>
                  <a:lnTo>
                    <a:pt x="926878" y="7144"/>
                  </a:lnTo>
                  <a:lnTo>
                    <a:pt x="567786" y="562070"/>
                  </a:lnTo>
                  <a:lnTo>
                    <a:pt x="567786" y="946499"/>
                  </a:lnTo>
                  <a:lnTo>
                    <a:pt x="367665" y="946499"/>
                  </a:ln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23FE072-CCB3-4607-B33F-904439777076}"/>
                </a:ext>
              </a:extLst>
            </p:cNvPr>
            <p:cNvSpPr/>
            <p:nvPr/>
          </p:nvSpPr>
          <p:spPr>
            <a:xfrm>
              <a:off x="10157575" y="6072948"/>
              <a:ext cx="100025" cy="100025"/>
            </a:xfrm>
            <a:custGeom>
              <a:avLst/>
              <a:gdLst>
                <a:gd name="connsiteX0" fmla="*/ 160877 w 400050"/>
                <a:gd name="connsiteY0" fmla="*/ 398526 h 400050"/>
                <a:gd name="connsiteX1" fmla="*/ 7144 w 400050"/>
                <a:gd name="connsiteY1" fmla="*/ 7144 h 400050"/>
                <a:gd name="connsiteX2" fmla="*/ 85154 w 400050"/>
                <a:gd name="connsiteY2" fmla="*/ 7144 h 400050"/>
                <a:gd name="connsiteX3" fmla="*/ 203645 w 400050"/>
                <a:gd name="connsiteY3" fmla="*/ 323374 h 400050"/>
                <a:gd name="connsiteX4" fmla="*/ 322136 w 400050"/>
                <a:gd name="connsiteY4" fmla="*/ 7144 h 400050"/>
                <a:gd name="connsiteX5" fmla="*/ 400145 w 400050"/>
                <a:gd name="connsiteY5" fmla="*/ 7144 h 400050"/>
                <a:gd name="connsiteX6" fmla="*/ 246412 w 400050"/>
                <a:gd name="connsiteY6" fmla="*/ 398526 h 400050"/>
                <a:gd name="connsiteX7" fmla="*/ 160877 w 400050"/>
                <a:gd name="connsiteY7" fmla="*/ 398526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0050" h="400050">
                  <a:moveTo>
                    <a:pt x="160877" y="398526"/>
                  </a:moveTo>
                  <a:lnTo>
                    <a:pt x="7144" y="7144"/>
                  </a:lnTo>
                  <a:lnTo>
                    <a:pt x="85154" y="7144"/>
                  </a:lnTo>
                  <a:lnTo>
                    <a:pt x="203645" y="323374"/>
                  </a:lnTo>
                  <a:lnTo>
                    <a:pt x="322136" y="7144"/>
                  </a:lnTo>
                  <a:lnTo>
                    <a:pt x="400145" y="7144"/>
                  </a:lnTo>
                  <a:lnTo>
                    <a:pt x="246412" y="398526"/>
                  </a:lnTo>
                  <a:lnTo>
                    <a:pt x="160877" y="398526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A651B17-2DB1-4C5D-AB2E-6D5F20D29AC2}"/>
                </a:ext>
              </a:extLst>
            </p:cNvPr>
            <p:cNvSpPr/>
            <p:nvPr/>
          </p:nvSpPr>
          <p:spPr>
            <a:xfrm>
              <a:off x="10248978" y="6072948"/>
              <a:ext cx="100025" cy="100025"/>
            </a:xfrm>
            <a:custGeom>
              <a:avLst/>
              <a:gdLst>
                <a:gd name="connsiteX0" fmla="*/ 322231 w 400050"/>
                <a:gd name="connsiteY0" fmla="*/ 398526 h 400050"/>
                <a:gd name="connsiteX1" fmla="*/ 293465 w 400050"/>
                <a:gd name="connsiteY1" fmla="*/ 322802 h 400050"/>
                <a:gd name="connsiteX2" fmla="*/ 113919 w 400050"/>
                <a:gd name="connsiteY2" fmla="*/ 322802 h 400050"/>
                <a:gd name="connsiteX3" fmla="*/ 85154 w 400050"/>
                <a:gd name="connsiteY3" fmla="*/ 398526 h 400050"/>
                <a:gd name="connsiteX4" fmla="*/ 7144 w 400050"/>
                <a:gd name="connsiteY4" fmla="*/ 398526 h 400050"/>
                <a:gd name="connsiteX5" fmla="*/ 160877 w 400050"/>
                <a:gd name="connsiteY5" fmla="*/ 7144 h 400050"/>
                <a:gd name="connsiteX6" fmla="*/ 246507 w 400050"/>
                <a:gd name="connsiteY6" fmla="*/ 7144 h 400050"/>
                <a:gd name="connsiteX7" fmla="*/ 400241 w 400050"/>
                <a:gd name="connsiteY7" fmla="*/ 398526 h 400050"/>
                <a:gd name="connsiteX8" fmla="*/ 322231 w 400050"/>
                <a:gd name="connsiteY8" fmla="*/ 398526 h 400050"/>
                <a:gd name="connsiteX9" fmla="*/ 203740 w 400050"/>
                <a:gd name="connsiteY9" fmla="*/ 75819 h 400050"/>
                <a:gd name="connsiteX10" fmla="*/ 133350 w 400050"/>
                <a:gd name="connsiteY10" fmla="*/ 262414 h 400050"/>
                <a:gd name="connsiteX11" fmla="*/ 274129 w 400050"/>
                <a:gd name="connsiteY11" fmla="*/ 262414 h 400050"/>
                <a:gd name="connsiteX12" fmla="*/ 203740 w 400050"/>
                <a:gd name="connsiteY12" fmla="*/ 75819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0050" h="400050">
                  <a:moveTo>
                    <a:pt x="322231" y="398526"/>
                  </a:moveTo>
                  <a:lnTo>
                    <a:pt x="293465" y="322802"/>
                  </a:lnTo>
                  <a:lnTo>
                    <a:pt x="113919" y="322802"/>
                  </a:lnTo>
                  <a:lnTo>
                    <a:pt x="85154" y="398526"/>
                  </a:lnTo>
                  <a:lnTo>
                    <a:pt x="7144" y="398526"/>
                  </a:lnTo>
                  <a:lnTo>
                    <a:pt x="160877" y="7144"/>
                  </a:lnTo>
                  <a:lnTo>
                    <a:pt x="246507" y="7144"/>
                  </a:lnTo>
                  <a:lnTo>
                    <a:pt x="400241" y="398526"/>
                  </a:lnTo>
                  <a:lnTo>
                    <a:pt x="322231" y="398526"/>
                  </a:lnTo>
                  <a:close/>
                  <a:moveTo>
                    <a:pt x="203740" y="75819"/>
                  </a:moveTo>
                  <a:lnTo>
                    <a:pt x="133350" y="262414"/>
                  </a:lnTo>
                  <a:lnTo>
                    <a:pt x="274129" y="262414"/>
                  </a:lnTo>
                  <a:lnTo>
                    <a:pt x="203740" y="75819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ABBE5F2-BDCE-48AB-8EC9-B0DCE5789287}"/>
                </a:ext>
              </a:extLst>
            </p:cNvPr>
            <p:cNvSpPr/>
            <p:nvPr/>
          </p:nvSpPr>
          <p:spPr>
            <a:xfrm>
              <a:off x="10356671" y="6072948"/>
              <a:ext cx="61920" cy="100025"/>
            </a:xfrm>
            <a:custGeom>
              <a:avLst/>
              <a:gdLst>
                <a:gd name="connsiteX0" fmla="*/ 7144 w 247650"/>
                <a:gd name="connsiteY0" fmla="*/ 398526 h 400050"/>
                <a:gd name="connsiteX1" fmla="*/ 7144 w 247650"/>
                <a:gd name="connsiteY1" fmla="*/ 7144 h 400050"/>
                <a:gd name="connsiteX2" fmla="*/ 75819 w 247650"/>
                <a:gd name="connsiteY2" fmla="*/ 7144 h 400050"/>
                <a:gd name="connsiteX3" fmla="*/ 75819 w 247650"/>
                <a:gd name="connsiteY3" fmla="*/ 338042 h 400050"/>
                <a:gd name="connsiteX4" fmla="*/ 248317 w 247650"/>
                <a:gd name="connsiteY4" fmla="*/ 338042 h 400050"/>
                <a:gd name="connsiteX5" fmla="*/ 248317 w 247650"/>
                <a:gd name="connsiteY5" fmla="*/ 398431 h 400050"/>
                <a:gd name="connsiteX6" fmla="*/ 7144 w 247650"/>
                <a:gd name="connsiteY6" fmla="*/ 39843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7650" h="400050">
                  <a:moveTo>
                    <a:pt x="7144" y="398526"/>
                  </a:moveTo>
                  <a:lnTo>
                    <a:pt x="7144" y="7144"/>
                  </a:lnTo>
                  <a:lnTo>
                    <a:pt x="75819" y="7144"/>
                  </a:lnTo>
                  <a:lnTo>
                    <a:pt x="75819" y="338042"/>
                  </a:lnTo>
                  <a:lnTo>
                    <a:pt x="248317" y="338042"/>
                  </a:lnTo>
                  <a:lnTo>
                    <a:pt x="248317" y="398431"/>
                  </a:lnTo>
                  <a:lnTo>
                    <a:pt x="7144" y="398431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DECBD6B2-A8A9-4417-9B8D-79D808E88E4B}"/>
                </a:ext>
              </a:extLst>
            </p:cNvPr>
            <p:cNvSpPr/>
            <p:nvPr/>
          </p:nvSpPr>
          <p:spPr>
            <a:xfrm>
              <a:off x="10423426" y="6071353"/>
              <a:ext cx="102406" cy="104788"/>
            </a:xfrm>
            <a:custGeom>
              <a:avLst/>
              <a:gdLst>
                <a:gd name="connsiteX0" fmla="*/ 7144 w 409575"/>
                <a:gd name="connsiteY0" fmla="*/ 209550 h 419100"/>
                <a:gd name="connsiteX1" fmla="*/ 207264 w 409575"/>
                <a:gd name="connsiteY1" fmla="*/ 7144 h 419100"/>
                <a:gd name="connsiteX2" fmla="*/ 407384 w 409575"/>
                <a:gd name="connsiteY2" fmla="*/ 209550 h 419100"/>
                <a:gd name="connsiteX3" fmla="*/ 207264 w 409575"/>
                <a:gd name="connsiteY3" fmla="*/ 411956 h 419100"/>
                <a:gd name="connsiteX4" fmla="*/ 7144 w 409575"/>
                <a:gd name="connsiteY4" fmla="*/ 209550 h 419100"/>
                <a:gd name="connsiteX5" fmla="*/ 336900 w 409575"/>
                <a:gd name="connsiteY5" fmla="*/ 209550 h 419100"/>
                <a:gd name="connsiteX6" fmla="*/ 207264 w 409575"/>
                <a:gd name="connsiteY6" fmla="*/ 68104 h 419100"/>
                <a:gd name="connsiteX7" fmla="*/ 77629 w 409575"/>
                <a:gd name="connsiteY7" fmla="*/ 209550 h 419100"/>
                <a:gd name="connsiteX8" fmla="*/ 207264 w 409575"/>
                <a:gd name="connsiteY8" fmla="*/ 350996 h 419100"/>
                <a:gd name="connsiteX9" fmla="*/ 336900 w 409575"/>
                <a:gd name="connsiteY9" fmla="*/ 20955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9575" h="419100">
                  <a:moveTo>
                    <a:pt x="7144" y="209550"/>
                  </a:moveTo>
                  <a:cubicBezTo>
                    <a:pt x="7144" y="92773"/>
                    <a:pt x="89916" y="7144"/>
                    <a:pt x="207264" y="7144"/>
                  </a:cubicBezTo>
                  <a:cubicBezTo>
                    <a:pt x="324041" y="7144"/>
                    <a:pt x="407384" y="92773"/>
                    <a:pt x="407384" y="209550"/>
                  </a:cubicBezTo>
                  <a:cubicBezTo>
                    <a:pt x="407384" y="326326"/>
                    <a:pt x="324041" y="411956"/>
                    <a:pt x="207264" y="411956"/>
                  </a:cubicBezTo>
                  <a:cubicBezTo>
                    <a:pt x="89916" y="411956"/>
                    <a:pt x="7144" y="326326"/>
                    <a:pt x="7144" y="209550"/>
                  </a:cubicBezTo>
                  <a:close/>
                  <a:moveTo>
                    <a:pt x="336900" y="209550"/>
                  </a:moveTo>
                  <a:cubicBezTo>
                    <a:pt x="336900" y="128588"/>
                    <a:pt x="285845" y="68104"/>
                    <a:pt x="207264" y="68104"/>
                  </a:cubicBezTo>
                  <a:cubicBezTo>
                    <a:pt x="128016" y="68104"/>
                    <a:pt x="77629" y="128492"/>
                    <a:pt x="77629" y="209550"/>
                  </a:cubicBezTo>
                  <a:cubicBezTo>
                    <a:pt x="77629" y="289941"/>
                    <a:pt x="128111" y="350996"/>
                    <a:pt x="207264" y="350996"/>
                  </a:cubicBezTo>
                  <a:cubicBezTo>
                    <a:pt x="285845" y="350996"/>
                    <a:pt x="336900" y="289941"/>
                    <a:pt x="336900" y="209550"/>
                  </a:cubicBez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60DC9E-BC68-420D-9079-ACBD9BF07D51}"/>
                </a:ext>
              </a:extLst>
            </p:cNvPr>
            <p:cNvSpPr/>
            <p:nvPr/>
          </p:nvSpPr>
          <p:spPr>
            <a:xfrm>
              <a:off x="10539907" y="6072948"/>
              <a:ext cx="78591" cy="100025"/>
            </a:xfrm>
            <a:custGeom>
              <a:avLst/>
              <a:gdLst>
                <a:gd name="connsiteX0" fmla="*/ 230696 w 314325"/>
                <a:gd name="connsiteY0" fmla="*/ 398526 h 400050"/>
                <a:gd name="connsiteX1" fmla="*/ 144494 w 314325"/>
                <a:gd name="connsiteY1" fmla="*/ 252413 h 400050"/>
                <a:gd name="connsiteX2" fmla="*/ 75819 w 314325"/>
                <a:gd name="connsiteY2" fmla="*/ 252413 h 400050"/>
                <a:gd name="connsiteX3" fmla="*/ 75819 w 314325"/>
                <a:gd name="connsiteY3" fmla="*/ 398526 h 400050"/>
                <a:gd name="connsiteX4" fmla="*/ 7144 w 314325"/>
                <a:gd name="connsiteY4" fmla="*/ 398526 h 400050"/>
                <a:gd name="connsiteX5" fmla="*/ 7144 w 314325"/>
                <a:gd name="connsiteY5" fmla="*/ 7144 h 400050"/>
                <a:gd name="connsiteX6" fmla="*/ 179070 w 314325"/>
                <a:gd name="connsiteY6" fmla="*/ 7144 h 400050"/>
                <a:gd name="connsiteX7" fmla="*/ 307562 w 314325"/>
                <a:gd name="connsiteY7" fmla="*/ 129730 h 400050"/>
                <a:gd name="connsiteX8" fmla="*/ 214313 w 314325"/>
                <a:gd name="connsiteY8" fmla="*/ 244697 h 400050"/>
                <a:gd name="connsiteX9" fmla="*/ 310515 w 314325"/>
                <a:gd name="connsiteY9" fmla="*/ 398431 h 400050"/>
                <a:gd name="connsiteX10" fmla="*/ 230696 w 314325"/>
                <a:gd name="connsiteY10" fmla="*/ 398431 h 400050"/>
                <a:gd name="connsiteX11" fmla="*/ 237173 w 314325"/>
                <a:gd name="connsiteY11" fmla="*/ 129254 h 400050"/>
                <a:gd name="connsiteX12" fmla="*/ 170307 w 314325"/>
                <a:gd name="connsiteY12" fmla="*/ 67627 h 400050"/>
                <a:gd name="connsiteX13" fmla="*/ 75819 w 314325"/>
                <a:gd name="connsiteY13" fmla="*/ 67627 h 400050"/>
                <a:gd name="connsiteX14" fmla="*/ 75819 w 314325"/>
                <a:gd name="connsiteY14" fmla="*/ 192024 h 400050"/>
                <a:gd name="connsiteX15" fmla="*/ 170307 w 314325"/>
                <a:gd name="connsiteY15" fmla="*/ 192024 h 400050"/>
                <a:gd name="connsiteX16" fmla="*/ 237173 w 314325"/>
                <a:gd name="connsiteY16" fmla="*/ 129254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4325" h="400050">
                  <a:moveTo>
                    <a:pt x="230696" y="398526"/>
                  </a:moveTo>
                  <a:lnTo>
                    <a:pt x="144494" y="252413"/>
                  </a:lnTo>
                  <a:lnTo>
                    <a:pt x="75819" y="252413"/>
                  </a:lnTo>
                  <a:lnTo>
                    <a:pt x="75819" y="398526"/>
                  </a:lnTo>
                  <a:lnTo>
                    <a:pt x="7144" y="398526"/>
                  </a:lnTo>
                  <a:lnTo>
                    <a:pt x="7144" y="7144"/>
                  </a:lnTo>
                  <a:lnTo>
                    <a:pt x="179070" y="7144"/>
                  </a:lnTo>
                  <a:cubicBezTo>
                    <a:pt x="256508" y="7144"/>
                    <a:pt x="307562" y="57055"/>
                    <a:pt x="307562" y="129730"/>
                  </a:cubicBezTo>
                  <a:cubicBezTo>
                    <a:pt x="307562" y="198977"/>
                    <a:pt x="261747" y="237077"/>
                    <a:pt x="214313" y="244697"/>
                  </a:cubicBezTo>
                  <a:lnTo>
                    <a:pt x="310515" y="398431"/>
                  </a:lnTo>
                  <a:lnTo>
                    <a:pt x="230696" y="398431"/>
                  </a:lnTo>
                  <a:close/>
                  <a:moveTo>
                    <a:pt x="237173" y="129254"/>
                  </a:moveTo>
                  <a:cubicBezTo>
                    <a:pt x="237173" y="91726"/>
                    <a:pt x="208979" y="67627"/>
                    <a:pt x="170307" y="67627"/>
                  </a:cubicBezTo>
                  <a:lnTo>
                    <a:pt x="75819" y="67627"/>
                  </a:lnTo>
                  <a:lnTo>
                    <a:pt x="75819" y="192024"/>
                  </a:lnTo>
                  <a:lnTo>
                    <a:pt x="170307" y="192024"/>
                  </a:lnTo>
                  <a:cubicBezTo>
                    <a:pt x="208979" y="192024"/>
                    <a:pt x="237173" y="167354"/>
                    <a:pt x="237173" y="129254"/>
                  </a:cubicBez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9C4264E-B3DE-49C4-87E4-FEB934EFDC15}"/>
                </a:ext>
              </a:extLst>
            </p:cNvPr>
            <p:cNvSpPr/>
            <p:nvPr/>
          </p:nvSpPr>
          <p:spPr>
            <a:xfrm>
              <a:off x="10632192" y="6072948"/>
              <a:ext cx="69065" cy="100025"/>
            </a:xfrm>
            <a:custGeom>
              <a:avLst/>
              <a:gdLst>
                <a:gd name="connsiteX0" fmla="*/ 7144 w 276225"/>
                <a:gd name="connsiteY0" fmla="*/ 398526 h 400050"/>
                <a:gd name="connsiteX1" fmla="*/ 7144 w 276225"/>
                <a:gd name="connsiteY1" fmla="*/ 7144 h 400050"/>
                <a:gd name="connsiteX2" fmla="*/ 275273 w 276225"/>
                <a:gd name="connsiteY2" fmla="*/ 7144 h 400050"/>
                <a:gd name="connsiteX3" fmla="*/ 275273 w 276225"/>
                <a:gd name="connsiteY3" fmla="*/ 67532 h 400050"/>
                <a:gd name="connsiteX4" fmla="*/ 75819 w 276225"/>
                <a:gd name="connsiteY4" fmla="*/ 67532 h 400050"/>
                <a:gd name="connsiteX5" fmla="*/ 75819 w 276225"/>
                <a:gd name="connsiteY5" fmla="*/ 168497 h 400050"/>
                <a:gd name="connsiteX6" fmla="*/ 271177 w 276225"/>
                <a:gd name="connsiteY6" fmla="*/ 168497 h 400050"/>
                <a:gd name="connsiteX7" fmla="*/ 271177 w 276225"/>
                <a:gd name="connsiteY7" fmla="*/ 228886 h 400050"/>
                <a:gd name="connsiteX8" fmla="*/ 75819 w 276225"/>
                <a:gd name="connsiteY8" fmla="*/ 228886 h 400050"/>
                <a:gd name="connsiteX9" fmla="*/ 75819 w 276225"/>
                <a:gd name="connsiteY9" fmla="*/ 338042 h 400050"/>
                <a:gd name="connsiteX10" fmla="*/ 275273 w 276225"/>
                <a:gd name="connsiteY10" fmla="*/ 338042 h 400050"/>
                <a:gd name="connsiteX11" fmla="*/ 275273 w 276225"/>
                <a:gd name="connsiteY11" fmla="*/ 398431 h 400050"/>
                <a:gd name="connsiteX12" fmla="*/ 7144 w 276225"/>
                <a:gd name="connsiteY12" fmla="*/ 39843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6225" h="400050">
                  <a:moveTo>
                    <a:pt x="7144" y="398526"/>
                  </a:moveTo>
                  <a:lnTo>
                    <a:pt x="7144" y="7144"/>
                  </a:lnTo>
                  <a:lnTo>
                    <a:pt x="275273" y="7144"/>
                  </a:lnTo>
                  <a:lnTo>
                    <a:pt x="275273" y="67532"/>
                  </a:lnTo>
                  <a:lnTo>
                    <a:pt x="75819" y="67532"/>
                  </a:lnTo>
                  <a:lnTo>
                    <a:pt x="75819" y="168497"/>
                  </a:lnTo>
                  <a:lnTo>
                    <a:pt x="271177" y="168497"/>
                  </a:lnTo>
                  <a:lnTo>
                    <a:pt x="271177" y="228886"/>
                  </a:lnTo>
                  <a:lnTo>
                    <a:pt x="75819" y="228886"/>
                  </a:lnTo>
                  <a:lnTo>
                    <a:pt x="75819" y="338042"/>
                  </a:lnTo>
                  <a:lnTo>
                    <a:pt x="275273" y="338042"/>
                  </a:lnTo>
                  <a:lnTo>
                    <a:pt x="275273" y="398431"/>
                  </a:lnTo>
                  <a:lnTo>
                    <a:pt x="7144" y="398431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5011E0D-40F2-426B-9359-DF16566D6BB0}"/>
                </a:ext>
              </a:extLst>
            </p:cNvPr>
            <p:cNvSpPr/>
            <p:nvPr/>
          </p:nvSpPr>
          <p:spPr>
            <a:xfrm>
              <a:off x="10716832" y="6072948"/>
              <a:ext cx="104788" cy="100025"/>
            </a:xfrm>
            <a:custGeom>
              <a:avLst/>
              <a:gdLst>
                <a:gd name="connsiteX0" fmla="*/ 345186 w 419100"/>
                <a:gd name="connsiteY0" fmla="*/ 398526 h 400050"/>
                <a:gd name="connsiteX1" fmla="*/ 345186 w 419100"/>
                <a:gd name="connsiteY1" fmla="*/ 96393 h 400050"/>
                <a:gd name="connsiteX2" fmla="*/ 225457 w 419100"/>
                <a:gd name="connsiteY2" fmla="*/ 398526 h 400050"/>
                <a:gd name="connsiteX3" fmla="*/ 196120 w 419100"/>
                <a:gd name="connsiteY3" fmla="*/ 398526 h 400050"/>
                <a:gd name="connsiteX4" fmla="*/ 75819 w 419100"/>
                <a:gd name="connsiteY4" fmla="*/ 96393 h 400050"/>
                <a:gd name="connsiteX5" fmla="*/ 75819 w 419100"/>
                <a:gd name="connsiteY5" fmla="*/ 398526 h 400050"/>
                <a:gd name="connsiteX6" fmla="*/ 7144 w 419100"/>
                <a:gd name="connsiteY6" fmla="*/ 398526 h 400050"/>
                <a:gd name="connsiteX7" fmla="*/ 7144 w 419100"/>
                <a:gd name="connsiteY7" fmla="*/ 7144 h 400050"/>
                <a:gd name="connsiteX8" fmla="*/ 103918 w 419100"/>
                <a:gd name="connsiteY8" fmla="*/ 7144 h 400050"/>
                <a:gd name="connsiteX9" fmla="*/ 210693 w 419100"/>
                <a:gd name="connsiteY9" fmla="*/ 275844 h 400050"/>
                <a:gd name="connsiteX10" fmla="*/ 316897 w 419100"/>
                <a:gd name="connsiteY10" fmla="*/ 7144 h 400050"/>
                <a:gd name="connsiteX11" fmla="*/ 413671 w 419100"/>
                <a:gd name="connsiteY11" fmla="*/ 7144 h 400050"/>
                <a:gd name="connsiteX12" fmla="*/ 413671 w 419100"/>
                <a:gd name="connsiteY12" fmla="*/ 398526 h 400050"/>
                <a:gd name="connsiteX13" fmla="*/ 345186 w 419100"/>
                <a:gd name="connsiteY13" fmla="*/ 398526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9100" h="400050">
                  <a:moveTo>
                    <a:pt x="345186" y="398526"/>
                  </a:moveTo>
                  <a:lnTo>
                    <a:pt x="345186" y="96393"/>
                  </a:lnTo>
                  <a:lnTo>
                    <a:pt x="225457" y="398526"/>
                  </a:lnTo>
                  <a:lnTo>
                    <a:pt x="196120" y="398526"/>
                  </a:lnTo>
                  <a:lnTo>
                    <a:pt x="75819" y="96393"/>
                  </a:lnTo>
                  <a:lnTo>
                    <a:pt x="75819" y="398526"/>
                  </a:lnTo>
                  <a:lnTo>
                    <a:pt x="7144" y="398526"/>
                  </a:lnTo>
                  <a:lnTo>
                    <a:pt x="7144" y="7144"/>
                  </a:lnTo>
                  <a:lnTo>
                    <a:pt x="103918" y="7144"/>
                  </a:lnTo>
                  <a:lnTo>
                    <a:pt x="210693" y="275844"/>
                  </a:lnTo>
                  <a:lnTo>
                    <a:pt x="316897" y="7144"/>
                  </a:lnTo>
                  <a:lnTo>
                    <a:pt x="413671" y="7144"/>
                  </a:lnTo>
                  <a:lnTo>
                    <a:pt x="413671" y="398526"/>
                  </a:lnTo>
                  <a:lnTo>
                    <a:pt x="345186" y="398526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4281833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F6C810FC-F638-46AD-B235-0880921D8B8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217400" cy="6858000"/>
          </a:xfrm>
        </p:spPr>
        <p:txBody>
          <a:bodyPr>
            <a:noAutofit/>
          </a:bodyPr>
          <a:lstStyle>
            <a:lvl1pPr>
              <a:defRPr sz="15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71ABD432-A4FB-4CCB-AD1D-7134E3BC5E2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30000" y="0"/>
            <a:ext cx="8287385" cy="6858000"/>
          </a:xfrm>
          <a:custGeom>
            <a:avLst/>
            <a:gdLst>
              <a:gd name="connsiteX0" fmla="*/ 0 w 8262000"/>
              <a:gd name="connsiteY0" fmla="*/ 6858000 h 6858000"/>
              <a:gd name="connsiteX1" fmla="*/ 1562115 w 8262000"/>
              <a:gd name="connsiteY1" fmla="*/ 0 h 6858000"/>
              <a:gd name="connsiteX2" fmla="*/ 8262000 w 8262000"/>
              <a:gd name="connsiteY2" fmla="*/ 0 h 6858000"/>
              <a:gd name="connsiteX3" fmla="*/ 6699885 w 8262000"/>
              <a:gd name="connsiteY3" fmla="*/ 6858000 h 6858000"/>
              <a:gd name="connsiteX4" fmla="*/ 0 w 8262000"/>
              <a:gd name="connsiteY4" fmla="*/ 6858000 h 6858000"/>
              <a:gd name="connsiteX0" fmla="*/ 0 w 8287385"/>
              <a:gd name="connsiteY0" fmla="*/ 6858000 h 6858000"/>
              <a:gd name="connsiteX1" fmla="*/ 1562115 w 8287385"/>
              <a:gd name="connsiteY1" fmla="*/ 0 h 6858000"/>
              <a:gd name="connsiteX2" fmla="*/ 8262000 w 8287385"/>
              <a:gd name="connsiteY2" fmla="*/ 0 h 6858000"/>
              <a:gd name="connsiteX3" fmla="*/ 8287385 w 8287385"/>
              <a:gd name="connsiteY3" fmla="*/ 6858000 h 6858000"/>
              <a:gd name="connsiteX4" fmla="*/ 0 w 8287385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7385" h="6858000">
                <a:moveTo>
                  <a:pt x="0" y="6858000"/>
                </a:moveTo>
                <a:lnTo>
                  <a:pt x="1562115" y="0"/>
                </a:lnTo>
                <a:lnTo>
                  <a:pt x="8262000" y="0"/>
                </a:lnTo>
                <a:cubicBezTo>
                  <a:pt x="8270462" y="2286000"/>
                  <a:pt x="8278923" y="4572000"/>
                  <a:pt x="8287385" y="6858000"/>
                </a:cubicBezTo>
                <a:lnTo>
                  <a:pt x="0" y="6858000"/>
                </a:lnTo>
                <a:close/>
              </a:path>
            </a:pathLst>
          </a:custGeom>
          <a:solidFill>
            <a:schemeClr val="bg2">
              <a:alpha val="9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BD5D6EAA-F2C9-49E9-A0AC-F7C7CC1D6B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01110" y="3148125"/>
            <a:ext cx="5100676" cy="1533407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E682DD3C-CE39-428D-BEEC-F68FB098B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4442" y="1410039"/>
            <a:ext cx="5099561" cy="1196366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8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582B6B39-FF56-403E-B50F-D231A08AFE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83324" y="2727341"/>
            <a:ext cx="5100676" cy="226472"/>
          </a:xfrm>
        </p:spPr>
        <p:txBody>
          <a:bodyPr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b="0" kern="1200" cap="none" spc="60" baseline="0" dirty="0">
                <a:ln w="3175">
                  <a:noFill/>
                </a:ln>
                <a:solidFill>
                  <a:srgbClr val="7F9FD4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339717" indent="0">
              <a:buNone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2B2ACC35-BE79-40B3-AA31-8BA2AD689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75722" y="5321808"/>
            <a:ext cx="729579" cy="1536192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5138"/>
              <a:gd name="connsiteY0" fmla="*/ 10000 h 10000"/>
              <a:gd name="connsiteX1" fmla="*/ 2000 w 15138"/>
              <a:gd name="connsiteY1" fmla="*/ 0 h 10000"/>
              <a:gd name="connsiteX2" fmla="*/ 15138 w 15138"/>
              <a:gd name="connsiteY2" fmla="*/ 0 h 10000"/>
              <a:gd name="connsiteX3" fmla="*/ 8000 w 15138"/>
              <a:gd name="connsiteY3" fmla="*/ 10000 h 10000"/>
              <a:gd name="connsiteX4" fmla="*/ 0 w 15138"/>
              <a:gd name="connsiteY4" fmla="*/ 10000 h 10000"/>
              <a:gd name="connsiteX0" fmla="*/ 0 w 15138"/>
              <a:gd name="connsiteY0" fmla="*/ 10000 h 10000"/>
              <a:gd name="connsiteX1" fmla="*/ 7073 w 15138"/>
              <a:gd name="connsiteY1" fmla="*/ 0 h 10000"/>
              <a:gd name="connsiteX2" fmla="*/ 15138 w 15138"/>
              <a:gd name="connsiteY2" fmla="*/ 0 h 10000"/>
              <a:gd name="connsiteX3" fmla="*/ 8000 w 15138"/>
              <a:gd name="connsiteY3" fmla="*/ 10000 h 10000"/>
              <a:gd name="connsiteX4" fmla="*/ 0 w 15138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38" h="10000">
                <a:moveTo>
                  <a:pt x="0" y="10000"/>
                </a:moveTo>
                <a:lnTo>
                  <a:pt x="7073" y="0"/>
                </a:lnTo>
                <a:lnTo>
                  <a:pt x="15138" y="0"/>
                </a:lnTo>
                <a:lnTo>
                  <a:pt x="8000" y="10000"/>
                </a:lnTo>
                <a:lnTo>
                  <a:pt x="0" y="10000"/>
                </a:lnTo>
                <a:close/>
              </a:path>
            </a:pathLst>
          </a:cu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100000">
                <a:srgbClr val="0040AA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33" name="Text Placeholder 15">
            <a:extLst>
              <a:ext uri="{FF2B5EF4-FFF2-40B4-BE49-F238E27FC236}">
                <a16:creationId xmlns:a16="http://schemas.microsoft.com/office/drawing/2014/main" id="{313EF919-6C28-4E15-BE34-17CBABDC6E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257200" y="6134400"/>
            <a:ext cx="561600" cy="5652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noFill/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1079796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5">
            <a:extLst>
              <a:ext uri="{FF2B5EF4-FFF2-40B4-BE49-F238E27FC236}">
                <a16:creationId xmlns:a16="http://schemas.microsoft.com/office/drawing/2014/main" id="{AD09EFC5-3938-42DF-A7B0-FC5420219D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3769904" cy="6858000"/>
          </a:xfrm>
          <a:effectLst>
            <a:outerShdw blurRad="241300" sx="102000" sy="102000" algn="ctr" rotWithShape="0">
              <a:prstClr val="black">
                <a:alpha val="35000"/>
              </a:prstClr>
            </a:outerShdw>
          </a:effectLst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A62CF11-7B75-4429-9E7C-FAB9A3743280}"/>
              </a:ext>
            </a:extLst>
          </p:cNvPr>
          <p:cNvSpPr txBox="1"/>
          <p:nvPr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0FC1048-8237-4049-9F8F-92C01D4FE0D0}"/>
              </a:ext>
            </a:extLst>
          </p:cNvPr>
          <p:cNvSpPr txBox="1"/>
          <p:nvPr/>
        </p:nvSpPr>
        <p:spPr>
          <a:xfrm flipH="1">
            <a:off x="644550" y="6311542"/>
            <a:ext cx="2708249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l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Valorem Reply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7D20CB3-4B31-4FC3-BC97-AEAC6FC568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07535" y="2062800"/>
            <a:ext cx="2732400" cy="2732400"/>
          </a:xfrm>
          <a:prstGeom prst="ellipse">
            <a:avLst/>
          </a:prstGeom>
          <a:gradFill flip="none" rotWithShape="1">
            <a:gsLst>
              <a:gs pos="42000">
                <a:srgbClr val="006FC6"/>
              </a:gs>
              <a:gs pos="0">
                <a:schemeClr val="accent4">
                  <a:alpha val="91000"/>
                </a:schemeClr>
              </a:gs>
              <a:gs pos="76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  <a:effectLst>
            <a:outerShdw blurRad="241300" sx="102000" sy="102000" algn="ctr" rotWithShape="0">
              <a:prstClr val="black">
                <a:alpha val="35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2000" dirty="0">
                <a:solidFill>
                  <a:schemeClr val="bg1"/>
                </a:solidFill>
                <a:latin typeface="Arial Black" panose="020B0A04020102020204" pitchFamily="34" charset="0"/>
                <a:cs typeface="+mn-cs"/>
              </a:defRPr>
            </a:lvl1pPr>
          </a:lstStyle>
          <a:p>
            <a:pPr marL="0" lvl="0" algn="ctr" defTabSz="914400"/>
            <a:r>
              <a:rPr lang="en-US"/>
              <a:t>Click to 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D542BDAC-893E-4B2C-A1D4-E2938A369BD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98313" y="1008078"/>
            <a:ext cx="3432175" cy="292645"/>
          </a:xfrm>
        </p:spPr>
        <p:txBody>
          <a:bodyPr tIns="46800" bIns="46800"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7869D47D-949C-4859-A22F-E15D8C3898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98313" y="1340339"/>
            <a:ext cx="3432175" cy="741600"/>
          </a:xfrm>
        </p:spPr>
        <p:txBody>
          <a:bodyPr tIns="0" bIns="0">
            <a:noAutofit/>
          </a:bodyPr>
          <a:lstStyle>
            <a:lvl1pPr marL="0" indent="0" algn="l" defTabSz="914363" rtl="0" eaLnBrk="1" latinLnBrk="0" hangingPunct="1">
              <a:lnSpc>
                <a:spcPct val="150000"/>
              </a:lnSpc>
              <a:spcBef>
                <a:spcPct val="0"/>
              </a:spcBef>
              <a:buNone/>
              <a:defRPr lang="en-US" sz="1100" b="0" kern="1200" cap="none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FA150A68-89D3-4280-92B9-DB4942BDADC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98313" y="2703528"/>
            <a:ext cx="3432175" cy="292645"/>
          </a:xfrm>
        </p:spPr>
        <p:txBody>
          <a:bodyPr tIns="46800" bIns="46800"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4">
            <a:extLst>
              <a:ext uri="{FF2B5EF4-FFF2-40B4-BE49-F238E27FC236}">
                <a16:creationId xmlns:a16="http://schemas.microsoft.com/office/drawing/2014/main" id="{E9DAAAF3-6766-49FE-BA46-261607805F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98313" y="3035789"/>
            <a:ext cx="3432175" cy="741600"/>
          </a:xfrm>
        </p:spPr>
        <p:txBody>
          <a:bodyPr tIns="0" bIns="0">
            <a:noAutofit/>
          </a:bodyPr>
          <a:lstStyle>
            <a:lvl1pPr marL="0" indent="0" algn="l" defTabSz="914363" rtl="0" eaLnBrk="1" latinLnBrk="0" hangingPunct="1">
              <a:lnSpc>
                <a:spcPct val="150000"/>
              </a:lnSpc>
              <a:spcBef>
                <a:spcPct val="0"/>
              </a:spcBef>
              <a:buNone/>
              <a:defRPr lang="en-US" sz="1100" b="0" kern="1200" cap="none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C2D8BDA6-D848-49C9-BFD4-83BCCD7EC3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98313" y="4378943"/>
            <a:ext cx="3432175" cy="292645"/>
          </a:xfrm>
        </p:spPr>
        <p:txBody>
          <a:bodyPr tIns="46800" bIns="46800"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A38C6934-0C3B-4E2B-A1A0-2688AAA8221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998313" y="4711204"/>
            <a:ext cx="3432175" cy="741600"/>
          </a:xfrm>
        </p:spPr>
        <p:txBody>
          <a:bodyPr tIns="0" bIns="0">
            <a:noAutofit/>
          </a:bodyPr>
          <a:lstStyle>
            <a:lvl1pPr marL="0" indent="0" algn="l" defTabSz="914363" rtl="0" eaLnBrk="1" latinLnBrk="0" hangingPunct="1">
              <a:lnSpc>
                <a:spcPct val="150000"/>
              </a:lnSpc>
              <a:spcBef>
                <a:spcPct val="0"/>
              </a:spcBef>
              <a:buNone/>
              <a:defRPr lang="en-US" sz="1100" b="0" kern="1200" cap="none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246894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16756" y="1257300"/>
            <a:ext cx="5722583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6753" y="1916113"/>
            <a:ext cx="5179247" cy="2466001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C4D198D-2E6A-4C8F-A8AB-718D119D2B8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7491" y="6134099"/>
            <a:ext cx="563179" cy="56317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15911959-C8AD-4717-A43B-D9B6D66428D6}"/>
              </a:ext>
            </a:extLst>
          </p:cNvPr>
          <p:cNvSpPr/>
          <p:nvPr/>
        </p:nvSpPr>
        <p:spPr>
          <a:xfrm>
            <a:off x="11257491" y="6135678"/>
            <a:ext cx="561600" cy="561600"/>
          </a:xfrm>
          <a:prstGeom prst="rect">
            <a:avLst/>
          </a:pr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493C2D2-1D47-4F3A-A0E8-AC3CCEBFCB32}"/>
              </a:ext>
            </a:extLst>
          </p:cNvPr>
          <p:cNvSpPr/>
          <p:nvPr/>
        </p:nvSpPr>
        <p:spPr>
          <a:xfrm>
            <a:off x="8137002" y="2057400"/>
            <a:ext cx="4054997" cy="4800600"/>
          </a:xfrm>
          <a:prstGeom prst="rect">
            <a:avLst/>
          </a:prstGeom>
          <a:gradFill flip="none" rotWithShape="1">
            <a:gsLst>
              <a:gs pos="42000">
                <a:srgbClr val="006FC6"/>
              </a:gs>
              <a:gs pos="0">
                <a:schemeClr val="accent4">
                  <a:alpha val="91000"/>
                </a:schemeClr>
              </a:gs>
              <a:gs pos="76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D6EB07A-99B6-4081-8AA7-9A73E14EA65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759575" y="-1"/>
            <a:ext cx="4038600" cy="5417819"/>
          </a:xfrm>
          <a:effectLst>
            <a:outerShdw blurRad="241300" sx="102000" sy="102000" algn="ctr" rotWithShape="0">
              <a:prstClr val="black">
                <a:alpha val="35000"/>
              </a:prstClr>
            </a:outerShdw>
          </a:effectLst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BDC860E-C3EF-46BD-BE9C-D8823AB1FD18}"/>
              </a:ext>
            </a:extLst>
          </p:cNvPr>
          <p:cNvGrpSpPr/>
          <p:nvPr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  <a:solidFill>
            <a:schemeClr val="bg1"/>
          </a:solidFill>
        </p:grpSpPr>
        <p:sp>
          <p:nvSpPr>
            <p:cNvPr id="13" name="Oval 503">
              <a:extLst>
                <a:ext uri="{FF2B5EF4-FFF2-40B4-BE49-F238E27FC236}">
                  <a16:creationId xmlns:a16="http://schemas.microsoft.com/office/drawing/2014/main" id="{7EBA64E1-164E-462D-B79A-0402CC3D7C8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504">
              <a:extLst>
                <a:ext uri="{FF2B5EF4-FFF2-40B4-BE49-F238E27FC236}">
                  <a16:creationId xmlns:a16="http://schemas.microsoft.com/office/drawing/2014/main" id="{44B9419E-5D9A-45E9-BD8D-8F49E654B9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Oval 505">
              <a:extLst>
                <a:ext uri="{FF2B5EF4-FFF2-40B4-BE49-F238E27FC236}">
                  <a16:creationId xmlns:a16="http://schemas.microsoft.com/office/drawing/2014/main" id="{9A57249D-5D03-4546-B3E0-7072E3B2151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506">
              <a:extLst>
                <a:ext uri="{FF2B5EF4-FFF2-40B4-BE49-F238E27FC236}">
                  <a16:creationId xmlns:a16="http://schemas.microsoft.com/office/drawing/2014/main" id="{A2C6F305-9295-4C3A-AE24-DC06BC02A3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83286066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45D4470-D1EB-4C8D-B20D-E48B62334DC6}"/>
              </a:ext>
            </a:extLst>
          </p:cNvPr>
          <p:cNvSpPr/>
          <p:nvPr/>
        </p:nvSpPr>
        <p:spPr>
          <a:xfrm flipV="1">
            <a:off x="0" y="0"/>
            <a:ext cx="3505200" cy="6858000"/>
          </a:xfrm>
          <a:custGeom>
            <a:avLst/>
            <a:gdLst>
              <a:gd name="connsiteX0" fmla="*/ 0 w 3505200"/>
              <a:gd name="connsiteY0" fmla="*/ 0 h 6858000"/>
              <a:gd name="connsiteX1" fmla="*/ 1978706 w 3505200"/>
              <a:gd name="connsiteY1" fmla="*/ 0 h 6858000"/>
              <a:gd name="connsiteX2" fmla="*/ 3505200 w 3505200"/>
              <a:gd name="connsiteY2" fmla="*/ 6858000 h 6858000"/>
              <a:gd name="connsiteX3" fmla="*/ 0 w 3505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05200" h="6858000">
                <a:moveTo>
                  <a:pt x="0" y="0"/>
                </a:moveTo>
                <a:lnTo>
                  <a:pt x="1978706" y="0"/>
                </a:lnTo>
                <a:lnTo>
                  <a:pt x="35052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42000">
                <a:srgbClr val="006FC6"/>
              </a:gs>
              <a:gs pos="73000">
                <a:schemeClr val="accent4">
                  <a:alpha val="91000"/>
                </a:schemeClr>
              </a:gs>
              <a:gs pos="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2">
            <a:extLst>
              <a:ext uri="{FF2B5EF4-FFF2-40B4-BE49-F238E27FC236}">
                <a16:creationId xmlns:a16="http://schemas.microsoft.com/office/drawing/2014/main" id="{F953C581-66D1-49CD-8706-9DA69EDCD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4643" y="608400"/>
            <a:ext cx="7285496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74E4DA-A80B-4DDF-8D90-F90893783585}"/>
              </a:ext>
            </a:extLst>
          </p:cNvPr>
          <p:cNvSpPr txBox="1"/>
          <p:nvPr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8356028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127FC80-E667-466A-B126-33B8DEA6670A}"/>
              </a:ext>
            </a:extLst>
          </p:cNvPr>
          <p:cNvSpPr/>
          <p:nvPr/>
        </p:nvSpPr>
        <p:spPr>
          <a:xfrm>
            <a:off x="8969648" y="0"/>
            <a:ext cx="322235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207F3CB5-708E-4B53-B443-60E68E6C9E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6756" y="605664"/>
            <a:ext cx="7869435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none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677A78-DA1F-44C1-AAFF-B38A1DC12E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6753" y="1768095"/>
            <a:ext cx="5179247" cy="3321809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12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D4C4B69-CACB-4CBB-A7B0-2E6DE0A2BD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6756" y="1085952"/>
            <a:ext cx="10339200" cy="198131"/>
          </a:xfrm>
        </p:spPr>
        <p:txBody>
          <a:bodyPr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none" spc="60" baseline="0" dirty="0">
                <a:ln w="3175">
                  <a:noFill/>
                </a:ln>
                <a:solidFill>
                  <a:srgbClr val="7F9FD4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339717" indent="0">
              <a:buNone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D6D5776-1888-4492-8A62-5A765274D974}"/>
              </a:ext>
            </a:extLst>
          </p:cNvPr>
          <p:cNvGrpSpPr/>
          <p:nvPr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11" name="Oval 503">
              <a:extLst>
                <a:ext uri="{FF2B5EF4-FFF2-40B4-BE49-F238E27FC236}">
                  <a16:creationId xmlns:a16="http://schemas.microsoft.com/office/drawing/2014/main" id="{0E2BAED4-0C8D-42FC-B2FC-256EA226274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504">
              <a:extLst>
                <a:ext uri="{FF2B5EF4-FFF2-40B4-BE49-F238E27FC236}">
                  <a16:creationId xmlns:a16="http://schemas.microsoft.com/office/drawing/2014/main" id="{D4A32E27-F1CD-4FB9-8601-F0716D2A8E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Oval 505">
              <a:extLst>
                <a:ext uri="{FF2B5EF4-FFF2-40B4-BE49-F238E27FC236}">
                  <a16:creationId xmlns:a16="http://schemas.microsoft.com/office/drawing/2014/main" id="{7789E1EE-B96F-40B4-AA05-6ED539AA597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506">
              <a:extLst>
                <a:ext uri="{FF2B5EF4-FFF2-40B4-BE49-F238E27FC236}">
                  <a16:creationId xmlns:a16="http://schemas.microsoft.com/office/drawing/2014/main" id="{ED004FCA-4CD3-47AB-A10F-68719D97E3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80912737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2">
            <a:extLst>
              <a:ext uri="{FF2B5EF4-FFF2-40B4-BE49-F238E27FC236}">
                <a16:creationId xmlns:a16="http://schemas.microsoft.com/office/drawing/2014/main" id="{F953C581-66D1-49CD-8706-9DA69EDCDD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6757" y="605657"/>
            <a:ext cx="8962740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none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A46506B-2DC2-4B6E-946B-A5B1E7D466F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7491" y="6134099"/>
            <a:ext cx="563179" cy="56317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12AEE1A-E784-463D-9CC1-DA65075DCBA3}"/>
              </a:ext>
            </a:extLst>
          </p:cNvPr>
          <p:cNvSpPr/>
          <p:nvPr/>
        </p:nvSpPr>
        <p:spPr>
          <a:xfrm>
            <a:off x="11257491" y="6135678"/>
            <a:ext cx="561600" cy="561600"/>
          </a:xfrm>
          <a:prstGeom prst="rect">
            <a:avLst/>
          </a:pr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56E9DC0-88E8-415D-A096-7A5B8538BFFE}"/>
              </a:ext>
            </a:extLst>
          </p:cNvPr>
          <p:cNvSpPr/>
          <p:nvPr/>
        </p:nvSpPr>
        <p:spPr>
          <a:xfrm>
            <a:off x="10068560" y="0"/>
            <a:ext cx="2123440" cy="6858000"/>
          </a:xfrm>
          <a:prstGeom prst="rect">
            <a:avLst/>
          </a:prstGeom>
          <a:solidFill>
            <a:srgbClr val="252F38"/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51EDCBB-3F7D-49F8-93D4-4C28469C5007}"/>
              </a:ext>
            </a:extLst>
          </p:cNvPr>
          <p:cNvGrpSpPr/>
          <p:nvPr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  <a:solidFill>
            <a:schemeClr val="bg1"/>
          </a:solidFill>
        </p:grpSpPr>
        <p:sp>
          <p:nvSpPr>
            <p:cNvPr id="12" name="Oval 503">
              <a:extLst>
                <a:ext uri="{FF2B5EF4-FFF2-40B4-BE49-F238E27FC236}">
                  <a16:creationId xmlns:a16="http://schemas.microsoft.com/office/drawing/2014/main" id="{22CF80B2-E928-4D87-9A6A-72CFBD14E3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504">
              <a:extLst>
                <a:ext uri="{FF2B5EF4-FFF2-40B4-BE49-F238E27FC236}">
                  <a16:creationId xmlns:a16="http://schemas.microsoft.com/office/drawing/2014/main" id="{5FE0F925-D219-4009-A723-502528AAC1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Oval 505">
              <a:extLst>
                <a:ext uri="{FF2B5EF4-FFF2-40B4-BE49-F238E27FC236}">
                  <a16:creationId xmlns:a16="http://schemas.microsoft.com/office/drawing/2014/main" id="{A9CACEBD-F6CA-4B7B-B935-C4343E6206E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506">
              <a:extLst>
                <a:ext uri="{FF2B5EF4-FFF2-40B4-BE49-F238E27FC236}">
                  <a16:creationId xmlns:a16="http://schemas.microsoft.com/office/drawing/2014/main" id="{EC821728-B8A7-416E-B711-43D2C7EBCF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08335147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3C905E55-CD1E-432B-9883-ADACC0EDB9E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A0864B9-BE3B-4FE4-8D93-3221EB0BB37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52F38">
              <a:alpha val="91000"/>
            </a:srgb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4A78B7-784D-4152-B283-7D9907C40764}"/>
              </a:ext>
            </a:extLst>
          </p:cNvPr>
          <p:cNvSpPr/>
          <p:nvPr/>
        </p:nvSpPr>
        <p:spPr>
          <a:xfrm>
            <a:off x="1423686" y="1531620"/>
            <a:ext cx="6120114" cy="3802380"/>
          </a:xfrm>
          <a:prstGeom prst="rect">
            <a:avLst/>
          </a:prstGeom>
          <a:solidFill>
            <a:srgbClr val="252F38"/>
          </a:solidFill>
          <a:ln w="25400">
            <a:noFill/>
            <a:headEnd type="triangle"/>
            <a:tailEnd type="none"/>
          </a:ln>
          <a:effectLst>
            <a:outerShdw blurRad="444500" dist="1143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2A28F4F-955B-45BE-B82D-74B2AD3E7411}"/>
              </a:ext>
            </a:extLst>
          </p:cNvPr>
          <p:cNvSpPr/>
          <p:nvPr/>
        </p:nvSpPr>
        <p:spPr>
          <a:xfrm>
            <a:off x="1598946" y="1668780"/>
            <a:ext cx="5769594" cy="3528060"/>
          </a:xfrm>
          <a:prstGeom prst="rect">
            <a:avLst/>
          </a:prstGeom>
          <a:noFill/>
          <a:ln w="9525">
            <a:solidFill>
              <a:schemeClr val="bg1">
                <a:alpha val="24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A97E559-56A2-408C-B8B3-326C94C844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24880" y="2823167"/>
            <a:ext cx="5117726" cy="1219286"/>
          </a:xfrm>
        </p:spPr>
        <p:txBody>
          <a:bodyPr anchor="ctr" anchorCtr="0"/>
          <a:lstStyle>
            <a:lvl1pPr algn="ctr">
              <a:defRPr sz="4000" spc="-100" baseline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04CFC72-4BB3-4A1B-820A-963D9D9E5CE8}"/>
              </a:ext>
            </a:extLst>
          </p:cNvPr>
          <p:cNvSpPr txBox="1"/>
          <p:nvPr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9F29494-D650-4E2A-9414-CDF0B79D6479}"/>
              </a:ext>
            </a:extLst>
          </p:cNvPr>
          <p:cNvGrpSpPr/>
          <p:nvPr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  <a:solidFill>
            <a:schemeClr val="bg1"/>
          </a:solidFill>
        </p:grpSpPr>
        <p:sp>
          <p:nvSpPr>
            <p:cNvPr id="11" name="Oval 503">
              <a:extLst>
                <a:ext uri="{FF2B5EF4-FFF2-40B4-BE49-F238E27FC236}">
                  <a16:creationId xmlns:a16="http://schemas.microsoft.com/office/drawing/2014/main" id="{8327BBF8-361B-4F1E-9607-5ACEDE67DCA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504">
              <a:extLst>
                <a:ext uri="{FF2B5EF4-FFF2-40B4-BE49-F238E27FC236}">
                  <a16:creationId xmlns:a16="http://schemas.microsoft.com/office/drawing/2014/main" id="{17D0B823-75B9-49A2-B5EA-CD22D363B5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505">
              <a:extLst>
                <a:ext uri="{FF2B5EF4-FFF2-40B4-BE49-F238E27FC236}">
                  <a16:creationId xmlns:a16="http://schemas.microsoft.com/office/drawing/2014/main" id="{B6A007B5-7AE5-4877-B926-4C42DEC7BD6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506">
              <a:extLst>
                <a:ext uri="{FF2B5EF4-FFF2-40B4-BE49-F238E27FC236}">
                  <a16:creationId xmlns:a16="http://schemas.microsoft.com/office/drawing/2014/main" id="{4F35968B-45E6-4C79-BE43-CB66BBCC2E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964643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3C905E55-CD1E-432B-9883-ADACC0EDB9E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A0864B9-BE3B-4FE4-8D93-3221EB0BB37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91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4A78B7-784D-4152-B283-7D9907C40764}"/>
              </a:ext>
            </a:extLst>
          </p:cNvPr>
          <p:cNvSpPr/>
          <p:nvPr/>
        </p:nvSpPr>
        <p:spPr>
          <a:xfrm>
            <a:off x="1423686" y="1531620"/>
            <a:ext cx="6120114" cy="3802380"/>
          </a:xfrm>
          <a:prstGeom prst="rect">
            <a:avLst/>
          </a:prstGeom>
          <a:solidFill>
            <a:schemeClr val="bg1"/>
          </a:solidFill>
          <a:ln w="25400">
            <a:noFill/>
            <a:headEnd type="triangle"/>
            <a:tailEnd type="none"/>
          </a:ln>
          <a:effectLst>
            <a:outerShdw blurRad="444500" dist="1143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2A28F4F-955B-45BE-B82D-74B2AD3E7411}"/>
              </a:ext>
            </a:extLst>
          </p:cNvPr>
          <p:cNvSpPr/>
          <p:nvPr/>
        </p:nvSpPr>
        <p:spPr>
          <a:xfrm>
            <a:off x="1598946" y="1668780"/>
            <a:ext cx="5769594" cy="3528060"/>
          </a:xfrm>
          <a:prstGeom prst="rect">
            <a:avLst/>
          </a:prstGeom>
          <a:noFill/>
          <a:ln w="9525">
            <a:solidFill>
              <a:srgbClr val="212A32">
                <a:alpha val="24000"/>
              </a:srgb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A97E559-56A2-408C-B8B3-326C94C844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24880" y="2823167"/>
            <a:ext cx="5117726" cy="1219286"/>
          </a:xfrm>
        </p:spPr>
        <p:txBody>
          <a:bodyPr anchor="ctr" anchorCtr="0"/>
          <a:lstStyle>
            <a:lvl1pPr algn="ctr">
              <a:defRPr sz="4000" spc="-100" baseline="0">
                <a:solidFill>
                  <a:srgbClr val="212A32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6E4184C-C85D-4079-A1E4-DEE06104CE29}"/>
              </a:ext>
            </a:extLst>
          </p:cNvPr>
          <p:cNvSpPr txBox="1"/>
          <p:nvPr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616CE70-DCA6-448D-91B1-EF2E1829F833}"/>
              </a:ext>
            </a:extLst>
          </p:cNvPr>
          <p:cNvGrpSpPr/>
          <p:nvPr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12" name="Oval 503">
              <a:extLst>
                <a:ext uri="{FF2B5EF4-FFF2-40B4-BE49-F238E27FC236}">
                  <a16:creationId xmlns:a16="http://schemas.microsoft.com/office/drawing/2014/main" id="{1DEEBF9E-F0BD-4AB5-A705-C1BEF4DEB9E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504">
              <a:extLst>
                <a:ext uri="{FF2B5EF4-FFF2-40B4-BE49-F238E27FC236}">
                  <a16:creationId xmlns:a16="http://schemas.microsoft.com/office/drawing/2014/main" id="{31358443-CA48-4C33-B80C-3C54F733F2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505">
              <a:extLst>
                <a:ext uri="{FF2B5EF4-FFF2-40B4-BE49-F238E27FC236}">
                  <a16:creationId xmlns:a16="http://schemas.microsoft.com/office/drawing/2014/main" id="{25497808-311F-42DE-BCAC-95732420D67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506">
              <a:extLst>
                <a:ext uri="{FF2B5EF4-FFF2-40B4-BE49-F238E27FC236}">
                  <a16:creationId xmlns:a16="http://schemas.microsoft.com/office/drawing/2014/main" id="{F1EAF3E9-D924-4ACC-9D6C-A8210C89E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23351555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960792" y="1524000"/>
            <a:ext cx="1027041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7B404B5-8474-411C-B288-DD4B1ACBC8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31207" y="6356350"/>
            <a:ext cx="495656" cy="365125"/>
          </a:xfrm>
          <a:prstGeom prst="rect">
            <a:avLst/>
          </a:prstGeom>
        </p:spPr>
        <p:txBody>
          <a:bodyPr anchor="ctr"/>
          <a:lstStyle>
            <a:lvl1pPr algn="ctr"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65221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6DD09E-5D3F-80F1-1C06-5DA2AA5865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1DF5E82-A707-99D7-5799-EB5F62E002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F1E2E6-BDC4-23D7-CF84-03504E1075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232704-CBB0-4D24-AD0E-9BD391D88F94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57D033-B038-622D-8B4E-4BA276C80E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3E85D-85BD-E856-6F29-E5D38B72EC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0BBBFA-7C69-4A06-8FD6-048D7F4198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29793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- Dark">
    <p:bg>
      <p:bgPr>
        <a:solidFill>
          <a:schemeClr val="bg1">
            <a:alpha val="9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07C855B-3E54-4195-97AA-FE7037E9B549}"/>
              </a:ext>
            </a:extLst>
          </p:cNvPr>
          <p:cNvSpPr/>
          <p:nvPr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rgbClr val="252F38"/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2D0ACA56-508D-4360-AA71-81BB609CD244}"/>
              </a:ext>
            </a:extLst>
          </p:cNvPr>
          <p:cNvSpPr/>
          <p:nvPr/>
        </p:nvSpPr>
        <p:spPr>
          <a:xfrm flipV="1">
            <a:off x="0" y="0"/>
            <a:ext cx="3505200" cy="6858000"/>
          </a:xfrm>
          <a:custGeom>
            <a:avLst/>
            <a:gdLst>
              <a:gd name="connsiteX0" fmla="*/ 0 w 3505200"/>
              <a:gd name="connsiteY0" fmla="*/ 0 h 6858000"/>
              <a:gd name="connsiteX1" fmla="*/ 1978706 w 3505200"/>
              <a:gd name="connsiteY1" fmla="*/ 0 h 6858000"/>
              <a:gd name="connsiteX2" fmla="*/ 3505200 w 3505200"/>
              <a:gd name="connsiteY2" fmla="*/ 6858000 h 6858000"/>
              <a:gd name="connsiteX3" fmla="*/ 0 w 3505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05200" h="6858000">
                <a:moveTo>
                  <a:pt x="0" y="0"/>
                </a:moveTo>
                <a:lnTo>
                  <a:pt x="1978706" y="0"/>
                </a:lnTo>
                <a:lnTo>
                  <a:pt x="35052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64000">
                <a:srgbClr val="006FC6"/>
              </a:gs>
              <a:gs pos="96000">
                <a:schemeClr val="accent4">
                  <a:alpha val="91000"/>
                </a:schemeClr>
              </a:gs>
              <a:gs pos="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0" name="Group 29">
            <a:extLst>
              <a:ext uri="{FF2B5EF4-FFF2-40B4-BE49-F238E27FC236}">
                <a16:creationId xmlns:a16="http://schemas.microsoft.com/office/drawing/2014/main" id="{8D03C20A-8BBF-4953-9E12-0C9789B95946}"/>
              </a:ext>
            </a:extLst>
          </p:cNvPr>
          <p:cNvGrpSpPr/>
          <p:nvPr/>
        </p:nvGrpSpPr>
        <p:grpSpPr>
          <a:xfrm>
            <a:off x="9699222" y="5716003"/>
            <a:ext cx="1465674" cy="460138"/>
            <a:chOff x="9699222" y="5716003"/>
            <a:chExt cx="1465674" cy="460138"/>
          </a:xfrm>
          <a:solidFill>
            <a:schemeClr val="bg1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2E6D9B1-70BC-488B-AB63-12D552B7F87C}"/>
                </a:ext>
              </a:extLst>
            </p:cNvPr>
            <p:cNvSpPr/>
            <p:nvPr/>
          </p:nvSpPr>
          <p:spPr>
            <a:xfrm>
              <a:off x="10010229" y="5716003"/>
              <a:ext cx="80972" cy="80972"/>
            </a:xfrm>
            <a:custGeom>
              <a:avLst/>
              <a:gdLst>
                <a:gd name="connsiteX0" fmla="*/ 163259 w 323850"/>
                <a:gd name="connsiteY0" fmla="*/ 7144 h 323850"/>
                <a:gd name="connsiteX1" fmla="*/ 7144 w 323850"/>
                <a:gd name="connsiteY1" fmla="*/ 163544 h 323850"/>
                <a:gd name="connsiteX2" fmla="*/ 163259 w 323850"/>
                <a:gd name="connsiteY2" fmla="*/ 319564 h 323850"/>
                <a:gd name="connsiteX3" fmla="*/ 319373 w 323850"/>
                <a:gd name="connsiteY3" fmla="*/ 163544 h 323850"/>
                <a:gd name="connsiteX4" fmla="*/ 163259 w 323850"/>
                <a:gd name="connsiteY4" fmla="*/ 7144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323850">
                  <a:moveTo>
                    <a:pt x="163259" y="7144"/>
                  </a:moveTo>
                  <a:cubicBezTo>
                    <a:pt x="76962" y="7144"/>
                    <a:pt x="7144" y="77153"/>
                    <a:pt x="7144" y="163544"/>
                  </a:cubicBezTo>
                  <a:cubicBezTo>
                    <a:pt x="7144" y="249650"/>
                    <a:pt x="76867" y="319564"/>
                    <a:pt x="163259" y="319564"/>
                  </a:cubicBezTo>
                  <a:cubicBezTo>
                    <a:pt x="249364" y="319564"/>
                    <a:pt x="319373" y="249746"/>
                    <a:pt x="319373" y="163544"/>
                  </a:cubicBezTo>
                  <a:cubicBezTo>
                    <a:pt x="319373" y="77153"/>
                    <a:pt x="249364" y="7144"/>
                    <a:pt x="163259" y="71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3ECA5B2-774A-4B25-9D8E-2C4A71A23CC6}"/>
                </a:ext>
              </a:extLst>
            </p:cNvPr>
            <p:cNvSpPr/>
            <p:nvPr/>
          </p:nvSpPr>
          <p:spPr>
            <a:xfrm>
              <a:off x="9699222" y="5766920"/>
              <a:ext cx="319127" cy="340560"/>
            </a:xfrm>
            <a:custGeom>
              <a:avLst/>
              <a:gdLst>
                <a:gd name="connsiteX0" fmla="*/ 1064804 w 1276350"/>
                <a:gd name="connsiteY0" fmla="*/ 460439 h 1362075"/>
                <a:gd name="connsiteX1" fmla="*/ 1259781 w 1276350"/>
                <a:gd name="connsiteY1" fmla="*/ 203741 h 1362075"/>
                <a:gd name="connsiteX2" fmla="*/ 1261876 w 1276350"/>
                <a:gd name="connsiteY2" fmla="*/ 158687 h 1362075"/>
                <a:gd name="connsiteX3" fmla="*/ 1179009 w 1276350"/>
                <a:gd name="connsiteY3" fmla="*/ 25814 h 1362075"/>
                <a:gd name="connsiteX4" fmla="*/ 1145004 w 1276350"/>
                <a:gd name="connsiteY4" fmla="*/ 7145 h 1362075"/>
                <a:gd name="connsiteX5" fmla="*/ 787531 w 1276350"/>
                <a:gd name="connsiteY5" fmla="*/ 9621 h 1362075"/>
                <a:gd name="connsiteX6" fmla="*/ 787531 w 1276350"/>
                <a:gd name="connsiteY6" fmla="*/ 9621 h 1362075"/>
                <a:gd name="connsiteX7" fmla="*/ 591507 w 1276350"/>
                <a:gd name="connsiteY7" fmla="*/ 9431 h 1362075"/>
                <a:gd name="connsiteX8" fmla="*/ 581315 w 1276350"/>
                <a:gd name="connsiteY8" fmla="*/ 38387 h 1362075"/>
                <a:gd name="connsiteX9" fmla="*/ 636274 w 1276350"/>
                <a:gd name="connsiteY9" fmla="*/ 82678 h 1362075"/>
                <a:gd name="connsiteX10" fmla="*/ 662944 w 1276350"/>
                <a:gd name="connsiteY10" fmla="*/ 94965 h 1362075"/>
                <a:gd name="connsiteX11" fmla="*/ 1003368 w 1276350"/>
                <a:gd name="connsiteY11" fmla="*/ 159068 h 1362075"/>
                <a:gd name="connsiteX12" fmla="*/ 582172 w 1276350"/>
                <a:gd name="connsiteY12" fmla="*/ 611601 h 1362075"/>
                <a:gd name="connsiteX13" fmla="*/ 27817 w 1276350"/>
                <a:gd name="connsiteY13" fmla="*/ 690373 h 1362075"/>
                <a:gd name="connsiteX14" fmla="*/ 13625 w 1276350"/>
                <a:gd name="connsiteY14" fmla="*/ 730473 h 1362075"/>
                <a:gd name="connsiteX15" fmla="*/ 67727 w 1276350"/>
                <a:gd name="connsiteY15" fmla="*/ 788576 h 1362075"/>
                <a:gd name="connsiteX16" fmla="*/ 109256 w 1276350"/>
                <a:gd name="connsiteY16" fmla="*/ 806197 h 1362075"/>
                <a:gd name="connsiteX17" fmla="*/ 644370 w 1276350"/>
                <a:gd name="connsiteY17" fmla="*/ 797434 h 1362075"/>
                <a:gd name="connsiteX18" fmla="*/ 700473 w 1276350"/>
                <a:gd name="connsiteY18" fmla="*/ 781146 h 1362075"/>
                <a:gd name="connsiteX19" fmla="*/ 828679 w 1276350"/>
                <a:gd name="connsiteY19" fmla="*/ 703041 h 1362075"/>
                <a:gd name="connsiteX20" fmla="*/ 1099284 w 1276350"/>
                <a:gd name="connsiteY20" fmla="*/ 917830 h 1362075"/>
                <a:gd name="connsiteX21" fmla="*/ 1118715 w 1276350"/>
                <a:gd name="connsiteY21" fmla="*/ 952025 h 1362075"/>
                <a:gd name="connsiteX22" fmla="*/ 1170246 w 1276350"/>
                <a:gd name="connsiteY22" fmla="*/ 1331310 h 1362075"/>
                <a:gd name="connsiteX23" fmla="*/ 1205964 w 1276350"/>
                <a:gd name="connsiteY23" fmla="*/ 1362552 h 1362075"/>
                <a:gd name="connsiteX24" fmla="*/ 1233492 w 1276350"/>
                <a:gd name="connsiteY24" fmla="*/ 1362552 h 1362075"/>
                <a:gd name="connsiteX25" fmla="*/ 1269591 w 1276350"/>
                <a:gd name="connsiteY25" fmla="*/ 1326643 h 1362075"/>
                <a:gd name="connsiteX26" fmla="*/ 1271211 w 1276350"/>
                <a:gd name="connsiteY26" fmla="*/ 905733 h 1362075"/>
                <a:gd name="connsiteX27" fmla="*/ 1251399 w 1276350"/>
                <a:gd name="connsiteY27" fmla="*/ 845440 h 1362075"/>
                <a:gd name="connsiteX28" fmla="*/ 1015274 w 1276350"/>
                <a:gd name="connsiteY28" fmla="*/ 527210 h 1362075"/>
                <a:gd name="connsiteX29" fmla="*/ 1064804 w 1276350"/>
                <a:gd name="connsiteY29" fmla="*/ 460439 h 1362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276350" h="1362075">
                  <a:moveTo>
                    <a:pt x="1064804" y="460439"/>
                  </a:moveTo>
                  <a:lnTo>
                    <a:pt x="1259781" y="203741"/>
                  </a:lnTo>
                  <a:cubicBezTo>
                    <a:pt x="1269782" y="190596"/>
                    <a:pt x="1270544" y="172689"/>
                    <a:pt x="1261876" y="158687"/>
                  </a:cubicBezTo>
                  <a:lnTo>
                    <a:pt x="1179009" y="25814"/>
                  </a:lnTo>
                  <a:cubicBezTo>
                    <a:pt x="1171674" y="14098"/>
                    <a:pt x="1158816" y="7049"/>
                    <a:pt x="1145004" y="7145"/>
                  </a:cubicBezTo>
                  <a:lnTo>
                    <a:pt x="787531" y="9621"/>
                  </a:lnTo>
                  <a:lnTo>
                    <a:pt x="787531" y="9621"/>
                  </a:lnTo>
                  <a:lnTo>
                    <a:pt x="591507" y="9431"/>
                  </a:lnTo>
                  <a:cubicBezTo>
                    <a:pt x="576171" y="9431"/>
                    <a:pt x="569313" y="28671"/>
                    <a:pt x="581315" y="38387"/>
                  </a:cubicBezTo>
                  <a:lnTo>
                    <a:pt x="636274" y="82678"/>
                  </a:lnTo>
                  <a:cubicBezTo>
                    <a:pt x="643989" y="88869"/>
                    <a:pt x="653133" y="93155"/>
                    <a:pt x="662944" y="94965"/>
                  </a:cubicBezTo>
                  <a:lnTo>
                    <a:pt x="1003368" y="159068"/>
                  </a:lnTo>
                  <a:lnTo>
                    <a:pt x="582172" y="611601"/>
                  </a:lnTo>
                  <a:lnTo>
                    <a:pt x="27817" y="690373"/>
                  </a:lnTo>
                  <a:cubicBezTo>
                    <a:pt x="8576" y="693135"/>
                    <a:pt x="385" y="716281"/>
                    <a:pt x="13625" y="730473"/>
                  </a:cubicBezTo>
                  <a:lnTo>
                    <a:pt x="67727" y="788576"/>
                  </a:lnTo>
                  <a:cubicBezTo>
                    <a:pt x="78395" y="800101"/>
                    <a:pt x="93540" y="806483"/>
                    <a:pt x="109256" y="806197"/>
                  </a:cubicBezTo>
                  <a:lnTo>
                    <a:pt x="644370" y="797434"/>
                  </a:lnTo>
                  <a:cubicBezTo>
                    <a:pt x="664182" y="797148"/>
                    <a:pt x="683518" y="791529"/>
                    <a:pt x="700473" y="781146"/>
                  </a:cubicBezTo>
                  <a:lnTo>
                    <a:pt x="828679" y="703041"/>
                  </a:lnTo>
                  <a:lnTo>
                    <a:pt x="1099284" y="917830"/>
                  </a:lnTo>
                  <a:cubicBezTo>
                    <a:pt x="1109952" y="926307"/>
                    <a:pt x="1116906" y="938499"/>
                    <a:pt x="1118715" y="952025"/>
                  </a:cubicBezTo>
                  <a:lnTo>
                    <a:pt x="1170246" y="1331310"/>
                  </a:lnTo>
                  <a:cubicBezTo>
                    <a:pt x="1172627" y="1349217"/>
                    <a:pt x="1187962" y="1362552"/>
                    <a:pt x="1205964" y="1362552"/>
                  </a:cubicBezTo>
                  <a:lnTo>
                    <a:pt x="1233492" y="1362552"/>
                  </a:lnTo>
                  <a:cubicBezTo>
                    <a:pt x="1253399" y="1362552"/>
                    <a:pt x="1269496" y="1346455"/>
                    <a:pt x="1269591" y="1326643"/>
                  </a:cubicBezTo>
                  <a:lnTo>
                    <a:pt x="1271211" y="905733"/>
                  </a:lnTo>
                  <a:cubicBezTo>
                    <a:pt x="1271306" y="884016"/>
                    <a:pt x="1264353" y="862871"/>
                    <a:pt x="1251399" y="845440"/>
                  </a:cubicBezTo>
                  <a:lnTo>
                    <a:pt x="1015274" y="527210"/>
                  </a:lnTo>
                  <a:lnTo>
                    <a:pt x="1064804" y="4604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8BBFEBF-DA14-4213-B08A-FFBD9C588A80}"/>
                </a:ext>
              </a:extLst>
            </p:cNvPr>
            <p:cNvSpPr/>
            <p:nvPr/>
          </p:nvSpPr>
          <p:spPr>
            <a:xfrm>
              <a:off x="10167744" y="5779614"/>
              <a:ext cx="192905" cy="238154"/>
            </a:xfrm>
            <a:custGeom>
              <a:avLst/>
              <a:gdLst>
                <a:gd name="connsiteX0" fmla="*/ 538163 w 771525"/>
                <a:gd name="connsiteY0" fmla="*/ 946499 h 952500"/>
                <a:gd name="connsiteX1" fmla="*/ 353663 w 771525"/>
                <a:gd name="connsiteY1" fmla="*/ 612648 h 952500"/>
                <a:gd name="connsiteX2" fmla="*/ 207169 w 771525"/>
                <a:gd name="connsiteY2" fmla="*/ 612648 h 952500"/>
                <a:gd name="connsiteX3" fmla="*/ 207169 w 771525"/>
                <a:gd name="connsiteY3" fmla="*/ 946404 h 952500"/>
                <a:gd name="connsiteX4" fmla="*/ 7144 w 771525"/>
                <a:gd name="connsiteY4" fmla="*/ 946404 h 952500"/>
                <a:gd name="connsiteX5" fmla="*/ 7144 w 771525"/>
                <a:gd name="connsiteY5" fmla="*/ 7144 h 952500"/>
                <a:gd name="connsiteX6" fmla="*/ 446532 w 771525"/>
                <a:gd name="connsiteY6" fmla="*/ 7144 h 952500"/>
                <a:gd name="connsiteX7" fmla="*/ 763429 w 771525"/>
                <a:gd name="connsiteY7" fmla="*/ 309944 h 952500"/>
                <a:gd name="connsiteX8" fmla="*/ 556451 w 771525"/>
                <a:gd name="connsiteY8" fmla="*/ 588836 h 952500"/>
                <a:gd name="connsiteX9" fmla="*/ 769144 w 771525"/>
                <a:gd name="connsiteY9" fmla="*/ 946595 h 952500"/>
                <a:gd name="connsiteX10" fmla="*/ 538163 w 771525"/>
                <a:gd name="connsiteY10" fmla="*/ 946595 h 952500"/>
                <a:gd name="connsiteX11" fmla="*/ 557879 w 771525"/>
                <a:gd name="connsiteY11" fmla="*/ 308515 h 952500"/>
                <a:gd name="connsiteX12" fmla="*/ 418433 w 771525"/>
                <a:gd name="connsiteY12" fmla="*/ 183166 h 952500"/>
                <a:gd name="connsiteX13" fmla="*/ 207169 w 771525"/>
                <a:gd name="connsiteY13" fmla="*/ 183166 h 952500"/>
                <a:gd name="connsiteX14" fmla="*/ 207169 w 771525"/>
                <a:gd name="connsiteY14" fmla="*/ 436626 h 952500"/>
                <a:gd name="connsiteX15" fmla="*/ 418433 w 771525"/>
                <a:gd name="connsiteY15" fmla="*/ 436626 h 952500"/>
                <a:gd name="connsiteX16" fmla="*/ 557879 w 771525"/>
                <a:gd name="connsiteY16" fmla="*/ 308515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71525" h="952500">
                  <a:moveTo>
                    <a:pt x="538163" y="946499"/>
                  </a:moveTo>
                  <a:lnTo>
                    <a:pt x="353663" y="612648"/>
                  </a:lnTo>
                  <a:lnTo>
                    <a:pt x="207169" y="612648"/>
                  </a:lnTo>
                  <a:lnTo>
                    <a:pt x="207169" y="946404"/>
                  </a:lnTo>
                  <a:lnTo>
                    <a:pt x="7144" y="946404"/>
                  </a:lnTo>
                  <a:lnTo>
                    <a:pt x="7144" y="7144"/>
                  </a:lnTo>
                  <a:lnTo>
                    <a:pt x="446532" y="7144"/>
                  </a:lnTo>
                  <a:cubicBezTo>
                    <a:pt x="642271" y="7144"/>
                    <a:pt x="763429" y="135255"/>
                    <a:pt x="763429" y="309944"/>
                  </a:cubicBezTo>
                  <a:cubicBezTo>
                    <a:pt x="763429" y="474726"/>
                    <a:pt x="657797" y="564833"/>
                    <a:pt x="556451" y="588836"/>
                  </a:cubicBezTo>
                  <a:lnTo>
                    <a:pt x="769144" y="946595"/>
                  </a:lnTo>
                  <a:lnTo>
                    <a:pt x="538163" y="946595"/>
                  </a:lnTo>
                  <a:close/>
                  <a:moveTo>
                    <a:pt x="557879" y="308515"/>
                  </a:moveTo>
                  <a:cubicBezTo>
                    <a:pt x="557879" y="231077"/>
                    <a:pt x="497300" y="183166"/>
                    <a:pt x="418433" y="183166"/>
                  </a:cubicBezTo>
                  <a:lnTo>
                    <a:pt x="207169" y="183166"/>
                  </a:lnTo>
                  <a:lnTo>
                    <a:pt x="207169" y="436626"/>
                  </a:lnTo>
                  <a:lnTo>
                    <a:pt x="418433" y="436626"/>
                  </a:lnTo>
                  <a:cubicBezTo>
                    <a:pt x="497300" y="436626"/>
                    <a:pt x="557879" y="388715"/>
                    <a:pt x="557879" y="3085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1B44E1E-A940-4B1B-ACF2-206AC1F4ABEE}"/>
                </a:ext>
              </a:extLst>
            </p:cNvPr>
            <p:cNvSpPr/>
            <p:nvPr/>
          </p:nvSpPr>
          <p:spPr>
            <a:xfrm>
              <a:off x="10394181" y="5779614"/>
              <a:ext cx="169090" cy="238154"/>
            </a:xfrm>
            <a:custGeom>
              <a:avLst/>
              <a:gdLst>
                <a:gd name="connsiteX0" fmla="*/ 7144 w 676275"/>
                <a:gd name="connsiteY0" fmla="*/ 946499 h 952500"/>
                <a:gd name="connsiteX1" fmla="*/ 7144 w 676275"/>
                <a:gd name="connsiteY1" fmla="*/ 7144 h 952500"/>
                <a:gd name="connsiteX2" fmla="*/ 671894 w 676275"/>
                <a:gd name="connsiteY2" fmla="*/ 7144 h 952500"/>
                <a:gd name="connsiteX3" fmla="*/ 671894 w 676275"/>
                <a:gd name="connsiteY3" fmla="*/ 183166 h 952500"/>
                <a:gd name="connsiteX4" fmla="*/ 207169 w 676275"/>
                <a:gd name="connsiteY4" fmla="*/ 183166 h 952500"/>
                <a:gd name="connsiteX5" fmla="*/ 207169 w 676275"/>
                <a:gd name="connsiteY5" fmla="*/ 380333 h 952500"/>
                <a:gd name="connsiteX6" fmla="*/ 662083 w 676275"/>
                <a:gd name="connsiteY6" fmla="*/ 380333 h 952500"/>
                <a:gd name="connsiteX7" fmla="*/ 662083 w 676275"/>
                <a:gd name="connsiteY7" fmla="*/ 556355 h 952500"/>
                <a:gd name="connsiteX8" fmla="*/ 207169 w 676275"/>
                <a:gd name="connsiteY8" fmla="*/ 556355 h 952500"/>
                <a:gd name="connsiteX9" fmla="*/ 207169 w 676275"/>
                <a:gd name="connsiteY9" fmla="*/ 770382 h 952500"/>
                <a:gd name="connsiteX10" fmla="*/ 671894 w 676275"/>
                <a:gd name="connsiteY10" fmla="*/ 770382 h 952500"/>
                <a:gd name="connsiteX11" fmla="*/ 671894 w 676275"/>
                <a:gd name="connsiteY11" fmla="*/ 946404 h 952500"/>
                <a:gd name="connsiteX12" fmla="*/ 7144 w 676275"/>
                <a:gd name="connsiteY12" fmla="*/ 946404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952500">
                  <a:moveTo>
                    <a:pt x="7144" y="946499"/>
                  </a:moveTo>
                  <a:lnTo>
                    <a:pt x="7144" y="7144"/>
                  </a:lnTo>
                  <a:lnTo>
                    <a:pt x="671894" y="7144"/>
                  </a:lnTo>
                  <a:lnTo>
                    <a:pt x="671894" y="183166"/>
                  </a:lnTo>
                  <a:lnTo>
                    <a:pt x="207169" y="183166"/>
                  </a:lnTo>
                  <a:lnTo>
                    <a:pt x="207169" y="380333"/>
                  </a:lnTo>
                  <a:lnTo>
                    <a:pt x="662083" y="380333"/>
                  </a:lnTo>
                  <a:lnTo>
                    <a:pt x="662083" y="556355"/>
                  </a:lnTo>
                  <a:lnTo>
                    <a:pt x="207169" y="556355"/>
                  </a:lnTo>
                  <a:lnTo>
                    <a:pt x="207169" y="770382"/>
                  </a:lnTo>
                  <a:lnTo>
                    <a:pt x="671894" y="770382"/>
                  </a:lnTo>
                  <a:lnTo>
                    <a:pt x="671894" y="946404"/>
                  </a:lnTo>
                  <a:lnTo>
                    <a:pt x="7144" y="9464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0A6F8DD-8AEF-465D-BC8B-C79FE002A874}"/>
                </a:ext>
              </a:extLst>
            </p:cNvPr>
            <p:cNvSpPr/>
            <p:nvPr/>
          </p:nvSpPr>
          <p:spPr>
            <a:xfrm>
              <a:off x="10599446" y="5779614"/>
              <a:ext cx="190523" cy="238154"/>
            </a:xfrm>
            <a:custGeom>
              <a:avLst/>
              <a:gdLst>
                <a:gd name="connsiteX0" fmla="*/ 7144 w 762000"/>
                <a:gd name="connsiteY0" fmla="*/ 946499 h 952500"/>
                <a:gd name="connsiteX1" fmla="*/ 7144 w 762000"/>
                <a:gd name="connsiteY1" fmla="*/ 7144 h 952500"/>
                <a:gd name="connsiteX2" fmla="*/ 446532 w 762000"/>
                <a:gd name="connsiteY2" fmla="*/ 7144 h 952500"/>
                <a:gd name="connsiteX3" fmla="*/ 762000 w 762000"/>
                <a:gd name="connsiteY3" fmla="*/ 309944 h 952500"/>
                <a:gd name="connsiteX4" fmla="*/ 446532 w 762000"/>
                <a:gd name="connsiteY4" fmla="*/ 611315 h 952500"/>
                <a:gd name="connsiteX5" fmla="*/ 207074 w 762000"/>
                <a:gd name="connsiteY5" fmla="*/ 611315 h 952500"/>
                <a:gd name="connsiteX6" fmla="*/ 207074 w 762000"/>
                <a:gd name="connsiteY6" fmla="*/ 946499 h 952500"/>
                <a:gd name="connsiteX7" fmla="*/ 7144 w 762000"/>
                <a:gd name="connsiteY7" fmla="*/ 946499 h 952500"/>
                <a:gd name="connsiteX8" fmla="*/ 557784 w 762000"/>
                <a:gd name="connsiteY8" fmla="*/ 309848 h 952500"/>
                <a:gd name="connsiteX9" fmla="*/ 418338 w 762000"/>
                <a:gd name="connsiteY9" fmla="*/ 183071 h 952500"/>
                <a:gd name="connsiteX10" fmla="*/ 207074 w 762000"/>
                <a:gd name="connsiteY10" fmla="*/ 183071 h 952500"/>
                <a:gd name="connsiteX11" fmla="*/ 207074 w 762000"/>
                <a:gd name="connsiteY11" fmla="*/ 435197 h 952500"/>
                <a:gd name="connsiteX12" fmla="*/ 418338 w 762000"/>
                <a:gd name="connsiteY12" fmla="*/ 435197 h 952500"/>
                <a:gd name="connsiteX13" fmla="*/ 557784 w 762000"/>
                <a:gd name="connsiteY13" fmla="*/ 309848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62000" h="952500">
                  <a:moveTo>
                    <a:pt x="7144" y="946499"/>
                  </a:moveTo>
                  <a:lnTo>
                    <a:pt x="7144" y="7144"/>
                  </a:lnTo>
                  <a:lnTo>
                    <a:pt x="446532" y="7144"/>
                  </a:lnTo>
                  <a:cubicBezTo>
                    <a:pt x="650748" y="7144"/>
                    <a:pt x="762000" y="145161"/>
                    <a:pt x="762000" y="309944"/>
                  </a:cubicBezTo>
                  <a:cubicBezTo>
                    <a:pt x="762000" y="473297"/>
                    <a:pt x="649319" y="611315"/>
                    <a:pt x="446532" y="611315"/>
                  </a:cubicBezTo>
                  <a:lnTo>
                    <a:pt x="207074" y="611315"/>
                  </a:lnTo>
                  <a:lnTo>
                    <a:pt x="207074" y="946499"/>
                  </a:lnTo>
                  <a:lnTo>
                    <a:pt x="7144" y="946499"/>
                  </a:lnTo>
                  <a:close/>
                  <a:moveTo>
                    <a:pt x="557784" y="309848"/>
                  </a:moveTo>
                  <a:cubicBezTo>
                    <a:pt x="557784" y="230981"/>
                    <a:pt x="497205" y="183071"/>
                    <a:pt x="418338" y="183071"/>
                  </a:cubicBezTo>
                  <a:lnTo>
                    <a:pt x="207074" y="183071"/>
                  </a:lnTo>
                  <a:lnTo>
                    <a:pt x="207074" y="435197"/>
                  </a:lnTo>
                  <a:lnTo>
                    <a:pt x="418338" y="435197"/>
                  </a:lnTo>
                  <a:cubicBezTo>
                    <a:pt x="497300" y="435197"/>
                    <a:pt x="557784" y="387382"/>
                    <a:pt x="557784" y="3098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F3A4F70-6063-4F20-8EA2-D72D144A8788}"/>
                </a:ext>
              </a:extLst>
            </p:cNvPr>
            <p:cNvSpPr/>
            <p:nvPr/>
          </p:nvSpPr>
          <p:spPr>
            <a:xfrm>
              <a:off x="10817405" y="5779614"/>
              <a:ext cx="152419" cy="238154"/>
            </a:xfrm>
            <a:custGeom>
              <a:avLst/>
              <a:gdLst>
                <a:gd name="connsiteX0" fmla="*/ 7144 w 609600"/>
                <a:gd name="connsiteY0" fmla="*/ 946499 h 952500"/>
                <a:gd name="connsiteX1" fmla="*/ 7144 w 609600"/>
                <a:gd name="connsiteY1" fmla="*/ 7144 h 952500"/>
                <a:gd name="connsiteX2" fmla="*/ 208502 w 609600"/>
                <a:gd name="connsiteY2" fmla="*/ 7144 h 952500"/>
                <a:gd name="connsiteX3" fmla="*/ 208502 w 609600"/>
                <a:gd name="connsiteY3" fmla="*/ 770477 h 952500"/>
                <a:gd name="connsiteX4" fmla="*/ 605694 w 609600"/>
                <a:gd name="connsiteY4" fmla="*/ 770477 h 952500"/>
                <a:gd name="connsiteX5" fmla="*/ 605694 w 609600"/>
                <a:gd name="connsiteY5" fmla="*/ 946499 h 952500"/>
                <a:gd name="connsiteX6" fmla="*/ 7144 w 609600"/>
                <a:gd name="connsiteY6" fmla="*/ 946499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9600" h="952500">
                  <a:moveTo>
                    <a:pt x="7144" y="946499"/>
                  </a:moveTo>
                  <a:lnTo>
                    <a:pt x="7144" y="7144"/>
                  </a:lnTo>
                  <a:lnTo>
                    <a:pt x="208502" y="7144"/>
                  </a:lnTo>
                  <a:lnTo>
                    <a:pt x="208502" y="770477"/>
                  </a:lnTo>
                  <a:lnTo>
                    <a:pt x="605694" y="770477"/>
                  </a:lnTo>
                  <a:lnTo>
                    <a:pt x="605694" y="946499"/>
                  </a:lnTo>
                  <a:lnTo>
                    <a:pt x="7144" y="9464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91D5518-2665-4195-A8F8-3264F899BC77}"/>
                </a:ext>
              </a:extLst>
            </p:cNvPr>
            <p:cNvSpPr/>
            <p:nvPr/>
          </p:nvSpPr>
          <p:spPr>
            <a:xfrm>
              <a:off x="10931505" y="5779590"/>
              <a:ext cx="233391" cy="238154"/>
            </a:xfrm>
            <a:custGeom>
              <a:avLst/>
              <a:gdLst>
                <a:gd name="connsiteX0" fmla="*/ 367665 w 933450"/>
                <a:gd name="connsiteY0" fmla="*/ 946595 h 952500"/>
                <a:gd name="connsiteX1" fmla="*/ 367665 w 933450"/>
                <a:gd name="connsiteY1" fmla="*/ 562070 h 952500"/>
                <a:gd name="connsiteX2" fmla="*/ 7144 w 933450"/>
                <a:gd name="connsiteY2" fmla="*/ 7144 h 952500"/>
                <a:gd name="connsiteX3" fmla="*/ 235268 w 933450"/>
                <a:gd name="connsiteY3" fmla="*/ 7144 h 952500"/>
                <a:gd name="connsiteX4" fmla="*/ 467678 w 933450"/>
                <a:gd name="connsiteY4" fmla="*/ 383191 h 952500"/>
                <a:gd name="connsiteX5" fmla="*/ 700088 w 933450"/>
                <a:gd name="connsiteY5" fmla="*/ 7144 h 952500"/>
                <a:gd name="connsiteX6" fmla="*/ 926878 w 933450"/>
                <a:gd name="connsiteY6" fmla="*/ 7144 h 952500"/>
                <a:gd name="connsiteX7" fmla="*/ 567786 w 933450"/>
                <a:gd name="connsiteY7" fmla="*/ 562070 h 952500"/>
                <a:gd name="connsiteX8" fmla="*/ 567786 w 933450"/>
                <a:gd name="connsiteY8" fmla="*/ 946499 h 952500"/>
                <a:gd name="connsiteX9" fmla="*/ 367665 w 933450"/>
                <a:gd name="connsiteY9" fmla="*/ 946499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3450" h="952500">
                  <a:moveTo>
                    <a:pt x="367665" y="946595"/>
                  </a:moveTo>
                  <a:lnTo>
                    <a:pt x="367665" y="562070"/>
                  </a:lnTo>
                  <a:lnTo>
                    <a:pt x="7144" y="7144"/>
                  </a:lnTo>
                  <a:lnTo>
                    <a:pt x="235268" y="7144"/>
                  </a:lnTo>
                  <a:lnTo>
                    <a:pt x="467678" y="383191"/>
                  </a:lnTo>
                  <a:lnTo>
                    <a:pt x="700088" y="7144"/>
                  </a:lnTo>
                  <a:lnTo>
                    <a:pt x="926878" y="7144"/>
                  </a:lnTo>
                  <a:lnTo>
                    <a:pt x="567786" y="562070"/>
                  </a:lnTo>
                  <a:lnTo>
                    <a:pt x="567786" y="946499"/>
                  </a:lnTo>
                  <a:lnTo>
                    <a:pt x="367665" y="9464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23FE072-CCB3-4607-B33F-904439777076}"/>
                </a:ext>
              </a:extLst>
            </p:cNvPr>
            <p:cNvSpPr/>
            <p:nvPr/>
          </p:nvSpPr>
          <p:spPr>
            <a:xfrm>
              <a:off x="10157575" y="6072948"/>
              <a:ext cx="100025" cy="100025"/>
            </a:xfrm>
            <a:custGeom>
              <a:avLst/>
              <a:gdLst>
                <a:gd name="connsiteX0" fmla="*/ 160877 w 400050"/>
                <a:gd name="connsiteY0" fmla="*/ 398526 h 400050"/>
                <a:gd name="connsiteX1" fmla="*/ 7144 w 400050"/>
                <a:gd name="connsiteY1" fmla="*/ 7144 h 400050"/>
                <a:gd name="connsiteX2" fmla="*/ 85154 w 400050"/>
                <a:gd name="connsiteY2" fmla="*/ 7144 h 400050"/>
                <a:gd name="connsiteX3" fmla="*/ 203645 w 400050"/>
                <a:gd name="connsiteY3" fmla="*/ 323374 h 400050"/>
                <a:gd name="connsiteX4" fmla="*/ 322136 w 400050"/>
                <a:gd name="connsiteY4" fmla="*/ 7144 h 400050"/>
                <a:gd name="connsiteX5" fmla="*/ 400145 w 400050"/>
                <a:gd name="connsiteY5" fmla="*/ 7144 h 400050"/>
                <a:gd name="connsiteX6" fmla="*/ 246412 w 400050"/>
                <a:gd name="connsiteY6" fmla="*/ 398526 h 400050"/>
                <a:gd name="connsiteX7" fmla="*/ 160877 w 400050"/>
                <a:gd name="connsiteY7" fmla="*/ 398526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0050" h="400050">
                  <a:moveTo>
                    <a:pt x="160877" y="398526"/>
                  </a:moveTo>
                  <a:lnTo>
                    <a:pt x="7144" y="7144"/>
                  </a:lnTo>
                  <a:lnTo>
                    <a:pt x="85154" y="7144"/>
                  </a:lnTo>
                  <a:lnTo>
                    <a:pt x="203645" y="323374"/>
                  </a:lnTo>
                  <a:lnTo>
                    <a:pt x="322136" y="7144"/>
                  </a:lnTo>
                  <a:lnTo>
                    <a:pt x="400145" y="7144"/>
                  </a:lnTo>
                  <a:lnTo>
                    <a:pt x="246412" y="398526"/>
                  </a:lnTo>
                  <a:lnTo>
                    <a:pt x="160877" y="39852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A651B17-2DB1-4C5D-AB2E-6D5F20D29AC2}"/>
                </a:ext>
              </a:extLst>
            </p:cNvPr>
            <p:cNvSpPr/>
            <p:nvPr/>
          </p:nvSpPr>
          <p:spPr>
            <a:xfrm>
              <a:off x="10248978" y="6072948"/>
              <a:ext cx="100025" cy="100025"/>
            </a:xfrm>
            <a:custGeom>
              <a:avLst/>
              <a:gdLst>
                <a:gd name="connsiteX0" fmla="*/ 322231 w 400050"/>
                <a:gd name="connsiteY0" fmla="*/ 398526 h 400050"/>
                <a:gd name="connsiteX1" fmla="*/ 293465 w 400050"/>
                <a:gd name="connsiteY1" fmla="*/ 322802 h 400050"/>
                <a:gd name="connsiteX2" fmla="*/ 113919 w 400050"/>
                <a:gd name="connsiteY2" fmla="*/ 322802 h 400050"/>
                <a:gd name="connsiteX3" fmla="*/ 85154 w 400050"/>
                <a:gd name="connsiteY3" fmla="*/ 398526 h 400050"/>
                <a:gd name="connsiteX4" fmla="*/ 7144 w 400050"/>
                <a:gd name="connsiteY4" fmla="*/ 398526 h 400050"/>
                <a:gd name="connsiteX5" fmla="*/ 160877 w 400050"/>
                <a:gd name="connsiteY5" fmla="*/ 7144 h 400050"/>
                <a:gd name="connsiteX6" fmla="*/ 246507 w 400050"/>
                <a:gd name="connsiteY6" fmla="*/ 7144 h 400050"/>
                <a:gd name="connsiteX7" fmla="*/ 400241 w 400050"/>
                <a:gd name="connsiteY7" fmla="*/ 398526 h 400050"/>
                <a:gd name="connsiteX8" fmla="*/ 322231 w 400050"/>
                <a:gd name="connsiteY8" fmla="*/ 398526 h 400050"/>
                <a:gd name="connsiteX9" fmla="*/ 203740 w 400050"/>
                <a:gd name="connsiteY9" fmla="*/ 75819 h 400050"/>
                <a:gd name="connsiteX10" fmla="*/ 133350 w 400050"/>
                <a:gd name="connsiteY10" fmla="*/ 262414 h 400050"/>
                <a:gd name="connsiteX11" fmla="*/ 274129 w 400050"/>
                <a:gd name="connsiteY11" fmla="*/ 262414 h 400050"/>
                <a:gd name="connsiteX12" fmla="*/ 203740 w 400050"/>
                <a:gd name="connsiteY12" fmla="*/ 75819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0050" h="400050">
                  <a:moveTo>
                    <a:pt x="322231" y="398526"/>
                  </a:moveTo>
                  <a:lnTo>
                    <a:pt x="293465" y="322802"/>
                  </a:lnTo>
                  <a:lnTo>
                    <a:pt x="113919" y="322802"/>
                  </a:lnTo>
                  <a:lnTo>
                    <a:pt x="85154" y="398526"/>
                  </a:lnTo>
                  <a:lnTo>
                    <a:pt x="7144" y="398526"/>
                  </a:lnTo>
                  <a:lnTo>
                    <a:pt x="160877" y="7144"/>
                  </a:lnTo>
                  <a:lnTo>
                    <a:pt x="246507" y="7144"/>
                  </a:lnTo>
                  <a:lnTo>
                    <a:pt x="400241" y="398526"/>
                  </a:lnTo>
                  <a:lnTo>
                    <a:pt x="322231" y="398526"/>
                  </a:lnTo>
                  <a:close/>
                  <a:moveTo>
                    <a:pt x="203740" y="75819"/>
                  </a:moveTo>
                  <a:lnTo>
                    <a:pt x="133350" y="262414"/>
                  </a:lnTo>
                  <a:lnTo>
                    <a:pt x="274129" y="262414"/>
                  </a:lnTo>
                  <a:lnTo>
                    <a:pt x="203740" y="7581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ABBE5F2-BDCE-48AB-8EC9-B0DCE5789287}"/>
                </a:ext>
              </a:extLst>
            </p:cNvPr>
            <p:cNvSpPr/>
            <p:nvPr/>
          </p:nvSpPr>
          <p:spPr>
            <a:xfrm>
              <a:off x="10356671" y="6072948"/>
              <a:ext cx="61920" cy="100025"/>
            </a:xfrm>
            <a:custGeom>
              <a:avLst/>
              <a:gdLst>
                <a:gd name="connsiteX0" fmla="*/ 7144 w 247650"/>
                <a:gd name="connsiteY0" fmla="*/ 398526 h 400050"/>
                <a:gd name="connsiteX1" fmla="*/ 7144 w 247650"/>
                <a:gd name="connsiteY1" fmla="*/ 7144 h 400050"/>
                <a:gd name="connsiteX2" fmla="*/ 75819 w 247650"/>
                <a:gd name="connsiteY2" fmla="*/ 7144 h 400050"/>
                <a:gd name="connsiteX3" fmla="*/ 75819 w 247650"/>
                <a:gd name="connsiteY3" fmla="*/ 338042 h 400050"/>
                <a:gd name="connsiteX4" fmla="*/ 248317 w 247650"/>
                <a:gd name="connsiteY4" fmla="*/ 338042 h 400050"/>
                <a:gd name="connsiteX5" fmla="*/ 248317 w 247650"/>
                <a:gd name="connsiteY5" fmla="*/ 398431 h 400050"/>
                <a:gd name="connsiteX6" fmla="*/ 7144 w 247650"/>
                <a:gd name="connsiteY6" fmla="*/ 39843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7650" h="400050">
                  <a:moveTo>
                    <a:pt x="7144" y="398526"/>
                  </a:moveTo>
                  <a:lnTo>
                    <a:pt x="7144" y="7144"/>
                  </a:lnTo>
                  <a:lnTo>
                    <a:pt x="75819" y="7144"/>
                  </a:lnTo>
                  <a:lnTo>
                    <a:pt x="75819" y="338042"/>
                  </a:lnTo>
                  <a:lnTo>
                    <a:pt x="248317" y="338042"/>
                  </a:lnTo>
                  <a:lnTo>
                    <a:pt x="248317" y="398431"/>
                  </a:lnTo>
                  <a:lnTo>
                    <a:pt x="7144" y="39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DECBD6B2-A8A9-4417-9B8D-79D808E88E4B}"/>
                </a:ext>
              </a:extLst>
            </p:cNvPr>
            <p:cNvSpPr/>
            <p:nvPr/>
          </p:nvSpPr>
          <p:spPr>
            <a:xfrm>
              <a:off x="10423426" y="6071353"/>
              <a:ext cx="102406" cy="104788"/>
            </a:xfrm>
            <a:custGeom>
              <a:avLst/>
              <a:gdLst>
                <a:gd name="connsiteX0" fmla="*/ 7144 w 409575"/>
                <a:gd name="connsiteY0" fmla="*/ 209550 h 419100"/>
                <a:gd name="connsiteX1" fmla="*/ 207264 w 409575"/>
                <a:gd name="connsiteY1" fmla="*/ 7144 h 419100"/>
                <a:gd name="connsiteX2" fmla="*/ 407384 w 409575"/>
                <a:gd name="connsiteY2" fmla="*/ 209550 h 419100"/>
                <a:gd name="connsiteX3" fmla="*/ 207264 w 409575"/>
                <a:gd name="connsiteY3" fmla="*/ 411956 h 419100"/>
                <a:gd name="connsiteX4" fmla="*/ 7144 w 409575"/>
                <a:gd name="connsiteY4" fmla="*/ 209550 h 419100"/>
                <a:gd name="connsiteX5" fmla="*/ 336900 w 409575"/>
                <a:gd name="connsiteY5" fmla="*/ 209550 h 419100"/>
                <a:gd name="connsiteX6" fmla="*/ 207264 w 409575"/>
                <a:gd name="connsiteY6" fmla="*/ 68104 h 419100"/>
                <a:gd name="connsiteX7" fmla="*/ 77629 w 409575"/>
                <a:gd name="connsiteY7" fmla="*/ 209550 h 419100"/>
                <a:gd name="connsiteX8" fmla="*/ 207264 w 409575"/>
                <a:gd name="connsiteY8" fmla="*/ 350996 h 419100"/>
                <a:gd name="connsiteX9" fmla="*/ 336900 w 409575"/>
                <a:gd name="connsiteY9" fmla="*/ 20955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9575" h="419100">
                  <a:moveTo>
                    <a:pt x="7144" y="209550"/>
                  </a:moveTo>
                  <a:cubicBezTo>
                    <a:pt x="7144" y="92773"/>
                    <a:pt x="89916" y="7144"/>
                    <a:pt x="207264" y="7144"/>
                  </a:cubicBezTo>
                  <a:cubicBezTo>
                    <a:pt x="324041" y="7144"/>
                    <a:pt x="407384" y="92773"/>
                    <a:pt x="407384" y="209550"/>
                  </a:cubicBezTo>
                  <a:cubicBezTo>
                    <a:pt x="407384" y="326326"/>
                    <a:pt x="324041" y="411956"/>
                    <a:pt x="207264" y="411956"/>
                  </a:cubicBezTo>
                  <a:cubicBezTo>
                    <a:pt x="89916" y="411956"/>
                    <a:pt x="7144" y="326326"/>
                    <a:pt x="7144" y="209550"/>
                  </a:cubicBezTo>
                  <a:close/>
                  <a:moveTo>
                    <a:pt x="336900" y="209550"/>
                  </a:moveTo>
                  <a:cubicBezTo>
                    <a:pt x="336900" y="128588"/>
                    <a:pt x="285845" y="68104"/>
                    <a:pt x="207264" y="68104"/>
                  </a:cubicBezTo>
                  <a:cubicBezTo>
                    <a:pt x="128016" y="68104"/>
                    <a:pt x="77629" y="128492"/>
                    <a:pt x="77629" y="209550"/>
                  </a:cubicBezTo>
                  <a:cubicBezTo>
                    <a:pt x="77629" y="289941"/>
                    <a:pt x="128111" y="350996"/>
                    <a:pt x="207264" y="350996"/>
                  </a:cubicBezTo>
                  <a:cubicBezTo>
                    <a:pt x="285845" y="350996"/>
                    <a:pt x="336900" y="289941"/>
                    <a:pt x="336900" y="2095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60DC9E-BC68-420D-9079-ACBD9BF07D51}"/>
                </a:ext>
              </a:extLst>
            </p:cNvPr>
            <p:cNvSpPr/>
            <p:nvPr/>
          </p:nvSpPr>
          <p:spPr>
            <a:xfrm>
              <a:off x="10539907" y="6072948"/>
              <a:ext cx="78591" cy="100025"/>
            </a:xfrm>
            <a:custGeom>
              <a:avLst/>
              <a:gdLst>
                <a:gd name="connsiteX0" fmla="*/ 230696 w 314325"/>
                <a:gd name="connsiteY0" fmla="*/ 398526 h 400050"/>
                <a:gd name="connsiteX1" fmla="*/ 144494 w 314325"/>
                <a:gd name="connsiteY1" fmla="*/ 252413 h 400050"/>
                <a:gd name="connsiteX2" fmla="*/ 75819 w 314325"/>
                <a:gd name="connsiteY2" fmla="*/ 252413 h 400050"/>
                <a:gd name="connsiteX3" fmla="*/ 75819 w 314325"/>
                <a:gd name="connsiteY3" fmla="*/ 398526 h 400050"/>
                <a:gd name="connsiteX4" fmla="*/ 7144 w 314325"/>
                <a:gd name="connsiteY4" fmla="*/ 398526 h 400050"/>
                <a:gd name="connsiteX5" fmla="*/ 7144 w 314325"/>
                <a:gd name="connsiteY5" fmla="*/ 7144 h 400050"/>
                <a:gd name="connsiteX6" fmla="*/ 179070 w 314325"/>
                <a:gd name="connsiteY6" fmla="*/ 7144 h 400050"/>
                <a:gd name="connsiteX7" fmla="*/ 307562 w 314325"/>
                <a:gd name="connsiteY7" fmla="*/ 129730 h 400050"/>
                <a:gd name="connsiteX8" fmla="*/ 214313 w 314325"/>
                <a:gd name="connsiteY8" fmla="*/ 244697 h 400050"/>
                <a:gd name="connsiteX9" fmla="*/ 310515 w 314325"/>
                <a:gd name="connsiteY9" fmla="*/ 398431 h 400050"/>
                <a:gd name="connsiteX10" fmla="*/ 230696 w 314325"/>
                <a:gd name="connsiteY10" fmla="*/ 398431 h 400050"/>
                <a:gd name="connsiteX11" fmla="*/ 237173 w 314325"/>
                <a:gd name="connsiteY11" fmla="*/ 129254 h 400050"/>
                <a:gd name="connsiteX12" fmla="*/ 170307 w 314325"/>
                <a:gd name="connsiteY12" fmla="*/ 67627 h 400050"/>
                <a:gd name="connsiteX13" fmla="*/ 75819 w 314325"/>
                <a:gd name="connsiteY13" fmla="*/ 67627 h 400050"/>
                <a:gd name="connsiteX14" fmla="*/ 75819 w 314325"/>
                <a:gd name="connsiteY14" fmla="*/ 192024 h 400050"/>
                <a:gd name="connsiteX15" fmla="*/ 170307 w 314325"/>
                <a:gd name="connsiteY15" fmla="*/ 192024 h 400050"/>
                <a:gd name="connsiteX16" fmla="*/ 237173 w 314325"/>
                <a:gd name="connsiteY16" fmla="*/ 129254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4325" h="400050">
                  <a:moveTo>
                    <a:pt x="230696" y="398526"/>
                  </a:moveTo>
                  <a:lnTo>
                    <a:pt x="144494" y="252413"/>
                  </a:lnTo>
                  <a:lnTo>
                    <a:pt x="75819" y="252413"/>
                  </a:lnTo>
                  <a:lnTo>
                    <a:pt x="75819" y="398526"/>
                  </a:lnTo>
                  <a:lnTo>
                    <a:pt x="7144" y="398526"/>
                  </a:lnTo>
                  <a:lnTo>
                    <a:pt x="7144" y="7144"/>
                  </a:lnTo>
                  <a:lnTo>
                    <a:pt x="179070" y="7144"/>
                  </a:lnTo>
                  <a:cubicBezTo>
                    <a:pt x="256508" y="7144"/>
                    <a:pt x="307562" y="57055"/>
                    <a:pt x="307562" y="129730"/>
                  </a:cubicBezTo>
                  <a:cubicBezTo>
                    <a:pt x="307562" y="198977"/>
                    <a:pt x="261747" y="237077"/>
                    <a:pt x="214313" y="244697"/>
                  </a:cubicBezTo>
                  <a:lnTo>
                    <a:pt x="310515" y="398431"/>
                  </a:lnTo>
                  <a:lnTo>
                    <a:pt x="230696" y="398431"/>
                  </a:lnTo>
                  <a:close/>
                  <a:moveTo>
                    <a:pt x="237173" y="129254"/>
                  </a:moveTo>
                  <a:cubicBezTo>
                    <a:pt x="237173" y="91726"/>
                    <a:pt x="208979" y="67627"/>
                    <a:pt x="170307" y="67627"/>
                  </a:cubicBezTo>
                  <a:lnTo>
                    <a:pt x="75819" y="67627"/>
                  </a:lnTo>
                  <a:lnTo>
                    <a:pt x="75819" y="192024"/>
                  </a:lnTo>
                  <a:lnTo>
                    <a:pt x="170307" y="192024"/>
                  </a:lnTo>
                  <a:cubicBezTo>
                    <a:pt x="208979" y="192024"/>
                    <a:pt x="237173" y="167354"/>
                    <a:pt x="237173" y="12925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9C4264E-B3DE-49C4-87E4-FEB934EFDC15}"/>
                </a:ext>
              </a:extLst>
            </p:cNvPr>
            <p:cNvSpPr/>
            <p:nvPr/>
          </p:nvSpPr>
          <p:spPr>
            <a:xfrm>
              <a:off x="10632192" y="6072948"/>
              <a:ext cx="69065" cy="100025"/>
            </a:xfrm>
            <a:custGeom>
              <a:avLst/>
              <a:gdLst>
                <a:gd name="connsiteX0" fmla="*/ 7144 w 276225"/>
                <a:gd name="connsiteY0" fmla="*/ 398526 h 400050"/>
                <a:gd name="connsiteX1" fmla="*/ 7144 w 276225"/>
                <a:gd name="connsiteY1" fmla="*/ 7144 h 400050"/>
                <a:gd name="connsiteX2" fmla="*/ 275273 w 276225"/>
                <a:gd name="connsiteY2" fmla="*/ 7144 h 400050"/>
                <a:gd name="connsiteX3" fmla="*/ 275273 w 276225"/>
                <a:gd name="connsiteY3" fmla="*/ 67532 h 400050"/>
                <a:gd name="connsiteX4" fmla="*/ 75819 w 276225"/>
                <a:gd name="connsiteY4" fmla="*/ 67532 h 400050"/>
                <a:gd name="connsiteX5" fmla="*/ 75819 w 276225"/>
                <a:gd name="connsiteY5" fmla="*/ 168497 h 400050"/>
                <a:gd name="connsiteX6" fmla="*/ 271177 w 276225"/>
                <a:gd name="connsiteY6" fmla="*/ 168497 h 400050"/>
                <a:gd name="connsiteX7" fmla="*/ 271177 w 276225"/>
                <a:gd name="connsiteY7" fmla="*/ 228886 h 400050"/>
                <a:gd name="connsiteX8" fmla="*/ 75819 w 276225"/>
                <a:gd name="connsiteY8" fmla="*/ 228886 h 400050"/>
                <a:gd name="connsiteX9" fmla="*/ 75819 w 276225"/>
                <a:gd name="connsiteY9" fmla="*/ 338042 h 400050"/>
                <a:gd name="connsiteX10" fmla="*/ 275273 w 276225"/>
                <a:gd name="connsiteY10" fmla="*/ 338042 h 400050"/>
                <a:gd name="connsiteX11" fmla="*/ 275273 w 276225"/>
                <a:gd name="connsiteY11" fmla="*/ 398431 h 400050"/>
                <a:gd name="connsiteX12" fmla="*/ 7144 w 276225"/>
                <a:gd name="connsiteY12" fmla="*/ 39843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6225" h="400050">
                  <a:moveTo>
                    <a:pt x="7144" y="398526"/>
                  </a:moveTo>
                  <a:lnTo>
                    <a:pt x="7144" y="7144"/>
                  </a:lnTo>
                  <a:lnTo>
                    <a:pt x="275273" y="7144"/>
                  </a:lnTo>
                  <a:lnTo>
                    <a:pt x="275273" y="67532"/>
                  </a:lnTo>
                  <a:lnTo>
                    <a:pt x="75819" y="67532"/>
                  </a:lnTo>
                  <a:lnTo>
                    <a:pt x="75819" y="168497"/>
                  </a:lnTo>
                  <a:lnTo>
                    <a:pt x="271177" y="168497"/>
                  </a:lnTo>
                  <a:lnTo>
                    <a:pt x="271177" y="228886"/>
                  </a:lnTo>
                  <a:lnTo>
                    <a:pt x="75819" y="228886"/>
                  </a:lnTo>
                  <a:lnTo>
                    <a:pt x="75819" y="338042"/>
                  </a:lnTo>
                  <a:lnTo>
                    <a:pt x="275273" y="338042"/>
                  </a:lnTo>
                  <a:lnTo>
                    <a:pt x="275273" y="398431"/>
                  </a:lnTo>
                  <a:lnTo>
                    <a:pt x="7144" y="39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5011E0D-40F2-426B-9359-DF16566D6BB0}"/>
                </a:ext>
              </a:extLst>
            </p:cNvPr>
            <p:cNvSpPr/>
            <p:nvPr/>
          </p:nvSpPr>
          <p:spPr>
            <a:xfrm>
              <a:off x="10716832" y="6072948"/>
              <a:ext cx="104788" cy="100025"/>
            </a:xfrm>
            <a:custGeom>
              <a:avLst/>
              <a:gdLst>
                <a:gd name="connsiteX0" fmla="*/ 345186 w 419100"/>
                <a:gd name="connsiteY0" fmla="*/ 398526 h 400050"/>
                <a:gd name="connsiteX1" fmla="*/ 345186 w 419100"/>
                <a:gd name="connsiteY1" fmla="*/ 96393 h 400050"/>
                <a:gd name="connsiteX2" fmla="*/ 225457 w 419100"/>
                <a:gd name="connsiteY2" fmla="*/ 398526 h 400050"/>
                <a:gd name="connsiteX3" fmla="*/ 196120 w 419100"/>
                <a:gd name="connsiteY3" fmla="*/ 398526 h 400050"/>
                <a:gd name="connsiteX4" fmla="*/ 75819 w 419100"/>
                <a:gd name="connsiteY4" fmla="*/ 96393 h 400050"/>
                <a:gd name="connsiteX5" fmla="*/ 75819 w 419100"/>
                <a:gd name="connsiteY5" fmla="*/ 398526 h 400050"/>
                <a:gd name="connsiteX6" fmla="*/ 7144 w 419100"/>
                <a:gd name="connsiteY6" fmla="*/ 398526 h 400050"/>
                <a:gd name="connsiteX7" fmla="*/ 7144 w 419100"/>
                <a:gd name="connsiteY7" fmla="*/ 7144 h 400050"/>
                <a:gd name="connsiteX8" fmla="*/ 103918 w 419100"/>
                <a:gd name="connsiteY8" fmla="*/ 7144 h 400050"/>
                <a:gd name="connsiteX9" fmla="*/ 210693 w 419100"/>
                <a:gd name="connsiteY9" fmla="*/ 275844 h 400050"/>
                <a:gd name="connsiteX10" fmla="*/ 316897 w 419100"/>
                <a:gd name="connsiteY10" fmla="*/ 7144 h 400050"/>
                <a:gd name="connsiteX11" fmla="*/ 413671 w 419100"/>
                <a:gd name="connsiteY11" fmla="*/ 7144 h 400050"/>
                <a:gd name="connsiteX12" fmla="*/ 413671 w 419100"/>
                <a:gd name="connsiteY12" fmla="*/ 398526 h 400050"/>
                <a:gd name="connsiteX13" fmla="*/ 345186 w 419100"/>
                <a:gd name="connsiteY13" fmla="*/ 398526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9100" h="400050">
                  <a:moveTo>
                    <a:pt x="345186" y="398526"/>
                  </a:moveTo>
                  <a:lnTo>
                    <a:pt x="345186" y="96393"/>
                  </a:lnTo>
                  <a:lnTo>
                    <a:pt x="225457" y="398526"/>
                  </a:lnTo>
                  <a:lnTo>
                    <a:pt x="196120" y="398526"/>
                  </a:lnTo>
                  <a:lnTo>
                    <a:pt x="75819" y="96393"/>
                  </a:lnTo>
                  <a:lnTo>
                    <a:pt x="75819" y="398526"/>
                  </a:lnTo>
                  <a:lnTo>
                    <a:pt x="7144" y="398526"/>
                  </a:lnTo>
                  <a:lnTo>
                    <a:pt x="7144" y="7144"/>
                  </a:lnTo>
                  <a:lnTo>
                    <a:pt x="103918" y="7144"/>
                  </a:lnTo>
                  <a:lnTo>
                    <a:pt x="210693" y="275844"/>
                  </a:lnTo>
                  <a:lnTo>
                    <a:pt x="316897" y="7144"/>
                  </a:lnTo>
                  <a:lnTo>
                    <a:pt x="413671" y="7144"/>
                  </a:lnTo>
                  <a:lnTo>
                    <a:pt x="413671" y="398526"/>
                  </a:lnTo>
                  <a:lnTo>
                    <a:pt x="345186" y="39852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846FA92-A651-4D5A-8F32-5F6DB4AEA2D9}"/>
              </a:ext>
            </a:extLst>
          </p:cNvPr>
          <p:cNvGrpSpPr/>
          <p:nvPr/>
        </p:nvGrpSpPr>
        <p:grpSpPr>
          <a:xfrm>
            <a:off x="1568842" y="1529830"/>
            <a:ext cx="6750978" cy="3798340"/>
            <a:chOff x="1568842" y="1287695"/>
            <a:chExt cx="6750978" cy="3798340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17CE502-C695-4A79-ABC6-C74F27FA1E7D}"/>
                </a:ext>
              </a:extLst>
            </p:cNvPr>
            <p:cNvSpPr/>
            <p:nvPr userDrawn="1"/>
          </p:nvSpPr>
          <p:spPr>
            <a:xfrm>
              <a:off x="1568842" y="1287695"/>
              <a:ext cx="6750978" cy="3798340"/>
            </a:xfrm>
            <a:prstGeom prst="rect">
              <a:avLst/>
            </a:prstGeom>
            <a:solidFill>
              <a:srgbClr val="252F38"/>
            </a:solidFill>
            <a:ln w="25400">
              <a:noFill/>
              <a:headEnd type="triangle"/>
              <a:tailEnd type="none"/>
            </a:ln>
            <a:effectLst>
              <a:outerShdw blurRad="203200" dist="50800" dir="2400000" sx="102000" sy="102000" algn="tl" rotWithShape="0">
                <a:schemeClr val="tx1">
                  <a:alpha val="3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E6F27E0-CA4D-415D-ACD3-17E9F6F643C9}"/>
                </a:ext>
              </a:extLst>
            </p:cNvPr>
            <p:cNvSpPr/>
            <p:nvPr userDrawn="1"/>
          </p:nvSpPr>
          <p:spPr>
            <a:xfrm>
              <a:off x="1732669" y="1433013"/>
              <a:ext cx="6423324" cy="3507704"/>
            </a:xfrm>
            <a:prstGeom prst="rect">
              <a:avLst/>
            </a:prstGeom>
            <a:noFill/>
            <a:ln w="3175">
              <a:solidFill>
                <a:srgbClr val="384652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A4FC07FB-09B5-4630-900B-ACFB7E7F47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86357" y="2211115"/>
            <a:ext cx="4834028" cy="397700"/>
          </a:xfrm>
          <a:noFill/>
        </p:spPr>
        <p:txBody>
          <a:bodyPr anchor="b">
            <a:noAutofit/>
          </a:bodyPr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lang="en-US" sz="2000" kern="1200" spc="0" baseline="0" dirty="0">
                <a:solidFill>
                  <a:srgbClr val="92979B"/>
                </a:solidFill>
                <a:latin typeface="+mj-lt"/>
                <a:ea typeface="+mn-ea"/>
                <a:cs typeface="Segoe UI Light" panose="020B0502040204020203" pitchFamily="34" charset="0"/>
              </a:defRPr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</a:pPr>
            <a:r>
              <a:rPr lang="en-IN" dirty="0"/>
              <a:t>TEXT</a:t>
            </a:r>
            <a:endParaRPr lang="en-US" dirty="0"/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2AC7EE98-ABD9-4E4C-9485-425DAA2A9E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86357" y="4173105"/>
            <a:ext cx="4834028" cy="397700"/>
          </a:xfrm>
          <a:noFill/>
        </p:spPr>
        <p:txBody>
          <a:bodyPr>
            <a:noAutofit/>
          </a:bodyPr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lang="en-US" sz="1800" kern="1200" spc="0" baseline="0" dirty="0">
                <a:solidFill>
                  <a:srgbClr val="7F9FD4"/>
                </a:solidFill>
                <a:latin typeface="+mn-lt"/>
                <a:ea typeface="+mn-ea"/>
                <a:cs typeface="Segoe UI Light" panose="020B0502040204020203" pitchFamily="34" charset="0"/>
              </a:defRPr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</a:pPr>
            <a:r>
              <a:rPr lang="en-IN" dirty="0"/>
              <a:t>SUBTITLE</a:t>
            </a:r>
            <a:endParaRPr lang="en-US" dirty="0"/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E8DF795C-5B6D-49CC-90C0-11F21E801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86357" y="2808501"/>
            <a:ext cx="5670632" cy="1219286"/>
          </a:xfrm>
        </p:spPr>
        <p:txBody>
          <a:bodyPr anchor="t" anchorCtr="0"/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all" spc="-10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</p:spTree>
    <p:extLst>
      <p:ext uri="{BB962C8B-B14F-4D97-AF65-F5344CB8AC3E}">
        <p14:creationId xmlns:p14="http://schemas.microsoft.com/office/powerpoint/2010/main" val="151214081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165"/>
            <a:fld id="{F0A64F4F-C3FD-4B07-8005-E28FB117560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165"/>
              <a:t>2/2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165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165"/>
            <a:fld id="{07719076-B1CF-409C-978B-753F218D81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165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87709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505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000000"/>
                </a:solidFill>
              </a:defRPr>
            </a:lvl1pPr>
          </a:lstStyle>
          <a:p>
            <a:fld id="{4E4C8473-95EA-48C2-917D-84A3AF9AB99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96B602E4-6AB6-460B-B8F2-7560A0C71C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41648" y="6611112"/>
            <a:ext cx="4114800" cy="2286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marL="0" algn="ctr" defTabSz="914367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1000" kern="1200" dirty="0" smtClean="0">
                <a:solidFill>
                  <a:srgbClr val="50505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© 2021 Microsoft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093779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odule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banner">
            <a:extLst>
              <a:ext uri="{FF2B5EF4-FFF2-40B4-BE49-F238E27FC236}">
                <a16:creationId xmlns:a16="http://schemas.microsoft.com/office/drawing/2014/main" id="{D3EE1A7A-69EE-4909-A604-876E9F1922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1213174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3" name="Microsoft Power Platform logo" descr="Microsoft Power Platform">
            <a:extLst>
              <a:ext uri="{FF2B5EF4-FFF2-40B4-BE49-F238E27FC236}">
                <a16:creationId xmlns:a16="http://schemas.microsoft.com/office/drawing/2014/main" id="{5046AC4D-0741-490C-B8C0-0E40A4D338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2921754" cy="1213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A00073A9-0414-4A0D-8D5D-242FEAF484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7711" y="3546773"/>
            <a:ext cx="10800000" cy="520443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module ID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3D6D81D-B87A-46CD-BD93-6232F5EA37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7711" y="4067216"/>
            <a:ext cx="10800000" cy="219460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6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modul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A9D966-0D02-41F1-9399-1E3C4C7117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© 2021 Microsoft All rights reserved.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B9CCA23-65D5-4CD4-B9E6-0F19BEE971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8800" y="1634400"/>
            <a:ext cx="10800000" cy="1314000"/>
          </a:xfrm>
        </p:spPr>
        <p:txBody>
          <a:bodyPr anchor="t">
            <a:no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Enter product name in accent color, then new line then use white for remainder of title</a:t>
            </a:r>
          </a:p>
        </p:txBody>
      </p:sp>
    </p:spTree>
    <p:extLst>
      <p:ext uri="{BB962C8B-B14F-4D97-AF65-F5344CB8AC3E}">
        <p14:creationId xmlns:p14="http://schemas.microsoft.com/office/powerpoint/2010/main" val="3628095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154A7F-6E3D-4512-8C80-D1BB75A1E6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B3B300-977D-4CBE-ACA8-976351B829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4D57A5-4142-4C94-BC07-6A72C5E248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6EC1BD-4F0B-4D5A-8551-0DFF0F9B2C4B}" type="datetimeFigureOut">
              <a:rPr lang="en-US" smtClean="0"/>
              <a:t>2/2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381AA8-6431-4AA6-A328-0BE16A43D8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79FCEC-8ECB-430F-9091-1A9919CE77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F08E3E-1A5C-4948-933C-80D7EF95132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1797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505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000000"/>
                </a:solidFill>
              </a:defRPr>
            </a:lvl1pPr>
          </a:lstStyle>
          <a:p>
            <a:fld id="{4E4C8473-95EA-48C2-917D-84A3AF9AB99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96B602E4-6AB6-460B-B8F2-7560A0C71C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41648" y="6611112"/>
            <a:ext cx="4114800" cy="2286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marL="0" algn="ctr" defTabSz="914367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1000" kern="1200" dirty="0" smtClean="0">
                <a:solidFill>
                  <a:srgbClr val="50505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© 2021 Microsoft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705216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urse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banner">
            <a:extLst>
              <a:ext uri="{FF2B5EF4-FFF2-40B4-BE49-F238E27FC236}">
                <a16:creationId xmlns:a16="http://schemas.microsoft.com/office/drawing/2014/main" id="{D3EE1A7A-69EE-4909-A604-876E9F1922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1213174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3" name="Microsoft Power Platform logo" descr="Microsoft Power Platform">
            <a:extLst>
              <a:ext uri="{FF2B5EF4-FFF2-40B4-BE49-F238E27FC236}">
                <a16:creationId xmlns:a16="http://schemas.microsoft.com/office/drawing/2014/main" id="{5046AC4D-0741-490C-B8C0-0E40A4D338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2921754" cy="1213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932E405-95D6-4DAA-8644-A84697E1C4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8800" y="1634400"/>
            <a:ext cx="10800000" cy="2854800"/>
          </a:xfrm>
        </p:spPr>
        <p:txBody>
          <a:bodyPr anchor="t">
            <a:normAutofit/>
          </a:bodyPr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Enter product name in accent color, then new line then use white for remainder of titl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A00073A9-0414-4A0D-8D5D-242FEAF484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7711" y="4655125"/>
            <a:ext cx="10800000" cy="540327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release detail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3D6D81D-B87A-46CD-BD93-6232F5EA37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7711" y="5361706"/>
            <a:ext cx="10800000" cy="900113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instructor name and company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80DE2DD-3C88-4730-8B01-64224212529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© 2021 Microsoft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554951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banner">
            <a:extLst>
              <a:ext uri="{FF2B5EF4-FFF2-40B4-BE49-F238E27FC236}">
                <a16:creationId xmlns:a16="http://schemas.microsoft.com/office/drawing/2014/main" id="{8403E252-8A4C-4EF0-8F18-DABEB33BE4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3200" cy="1749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>
              <a:latin typeface="+mn-lt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7352B382-F4A6-4994-ADD6-52FBB912E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85199"/>
            <a:ext cx="11235600" cy="694800"/>
          </a:xfrm>
        </p:spPr>
        <p:txBody>
          <a:bodyPr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71DCE4DC-A621-4C81-9B88-F3A8D6C80E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080000"/>
            <a:ext cx="11235600" cy="540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>
                <a:solidFill>
                  <a:schemeClr val="accent1"/>
                </a:solidFill>
              </a:defRPr>
            </a:lvl1pPr>
            <a:lvl2pPr marL="262800" indent="0">
              <a:buFontTx/>
              <a:buNone/>
              <a:defRPr>
                <a:solidFill>
                  <a:schemeClr val="accent1"/>
                </a:solidFill>
              </a:defRPr>
            </a:lvl2pPr>
            <a:lvl3pPr marL="446400" indent="0">
              <a:buFontTx/>
              <a:buNone/>
              <a:defRPr>
                <a:solidFill>
                  <a:schemeClr val="accent1"/>
                </a:solidFill>
              </a:defRPr>
            </a:lvl3pPr>
            <a:lvl4pPr marL="626400" indent="0">
              <a:buFontTx/>
              <a:buNone/>
              <a:defRPr>
                <a:solidFill>
                  <a:schemeClr val="accent1"/>
                </a:solidFill>
              </a:defRPr>
            </a:lvl4pPr>
            <a:lvl5pPr marL="810000" indent="0">
              <a:buFontTx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title text (hide in Selection pane if not required)</a:t>
            </a:r>
          </a:p>
        </p:txBody>
      </p:sp>
      <p:sp>
        <p:nvSpPr>
          <p:cNvPr id="3" name="Content Placeholder">
            <a:extLst>
              <a:ext uri="{FF2B5EF4-FFF2-40B4-BE49-F238E27FC236}">
                <a16:creationId xmlns:a16="http://schemas.microsoft.com/office/drawing/2014/main" id="{7527CC3A-9865-44A2-8C7C-750E2328C1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070572" y="2030243"/>
            <a:ext cx="3657600" cy="4572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18CCA1E-5C70-4558-89D4-B730694DE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© 2021 Microsoft All rights reserved. 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6A0AEEF-6CDD-4067-B71C-8692B7FC3F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201" y="2030243"/>
            <a:ext cx="7315200" cy="4572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07839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odule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banner">
            <a:extLst>
              <a:ext uri="{FF2B5EF4-FFF2-40B4-BE49-F238E27FC236}">
                <a16:creationId xmlns:a16="http://schemas.microsoft.com/office/drawing/2014/main" id="{D3EE1A7A-69EE-4909-A604-876E9F1922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1213174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3" name="Microsoft Power Platform logo" descr="Microsoft Power Platform">
            <a:extLst>
              <a:ext uri="{FF2B5EF4-FFF2-40B4-BE49-F238E27FC236}">
                <a16:creationId xmlns:a16="http://schemas.microsoft.com/office/drawing/2014/main" id="{5046AC4D-0741-490C-B8C0-0E40A4D338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2921754" cy="1213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A00073A9-0414-4A0D-8D5D-242FEAF484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7711" y="3546773"/>
            <a:ext cx="10800000" cy="520443"/>
          </a:xfr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module ID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3D6D81D-B87A-46CD-BD93-6232F5EA37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7711" y="4067216"/>
            <a:ext cx="10800000" cy="219460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6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modul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A9D966-0D02-41F1-9399-1E3C4C7117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© 2021 Microsoft All rights reserved.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B9CCA23-65D5-4CD4-B9E6-0F19BEE971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8800" y="1634400"/>
            <a:ext cx="10800000" cy="1314000"/>
          </a:xfrm>
        </p:spPr>
        <p:txBody>
          <a:bodyPr anchor="t">
            <a:no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Enter product name in accent color, then new line then use white for remainder of title</a:t>
            </a:r>
          </a:p>
        </p:txBody>
      </p:sp>
    </p:spTree>
    <p:extLst>
      <p:ext uri="{BB962C8B-B14F-4D97-AF65-F5344CB8AC3E}">
        <p14:creationId xmlns:p14="http://schemas.microsoft.com/office/powerpoint/2010/main" val="1413496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154A7F-6E3D-4512-8C80-D1BB75A1E6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B3B300-977D-4CBE-ACA8-976351B829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4D57A5-4142-4C94-BC07-6A72C5E248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6EC1BD-4F0B-4D5A-8551-0DFF0F9B2C4B}" type="datetimeFigureOut">
              <a:rPr lang="en-US" smtClean="0"/>
              <a:t>2/2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381AA8-6431-4AA6-A328-0BE16A43D8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79FCEC-8ECB-430F-9091-1A9919CE77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F08E3E-1A5C-4948-933C-80D7EF95132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65191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FA62947-245D-45F7-B4FA-0B8F0178C23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BA03ABF-581C-4813-B3F8-1F9690A657FD}"/>
              </a:ext>
            </a:extLst>
          </p:cNvPr>
          <p:cNvSpPr/>
          <p:nvPr/>
        </p:nvSpPr>
        <p:spPr>
          <a:xfrm>
            <a:off x="2" y="0"/>
            <a:ext cx="12191998" cy="6858000"/>
          </a:xfrm>
          <a:prstGeom prst="rect">
            <a:avLst/>
          </a:prstGeom>
          <a:solidFill>
            <a:schemeClr val="bg1">
              <a:alpha val="90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78C1E-4F3D-44EB-9DAF-D02D1805E3DC}"/>
              </a:ext>
            </a:extLst>
          </p:cNvPr>
          <p:cNvSpPr/>
          <p:nvPr/>
        </p:nvSpPr>
        <p:spPr>
          <a:xfrm>
            <a:off x="3810000" y="1752600"/>
            <a:ext cx="4572000" cy="3352800"/>
          </a:xfrm>
          <a:prstGeom prst="rect">
            <a:avLst/>
          </a:pr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87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03EEE37-B469-45B6-A638-2EA2EF4086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0" y="3179701"/>
            <a:ext cx="4572000" cy="498598"/>
          </a:xfrm>
        </p:spPr>
        <p:txBody>
          <a:bodyPr anchor="ctr" anchorCtr="0">
            <a:spAutoFit/>
          </a:bodyPr>
          <a:lstStyle>
            <a:lvl1pPr algn="ctr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all" spc="-10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D972614-18D9-4BA0-81FD-5B1AEA4DCB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1546" y="3771900"/>
            <a:ext cx="3048908" cy="18466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339725" indent="0">
              <a:buNone/>
              <a:defRPr/>
            </a:lvl2pPr>
            <a:lvl3pPr marL="573088" indent="0">
              <a:buNone/>
              <a:defRPr/>
            </a:lvl3pPr>
            <a:lvl4pPr marL="798513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IN" dirty="0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0301650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B3EC066D-5CF8-445E-BAD4-1C818860553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"/>
            <a:ext cx="12191999" cy="685800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BA03ABF-581C-4813-B3F8-1F9690A657FD}"/>
              </a:ext>
            </a:extLst>
          </p:cNvPr>
          <p:cNvSpPr/>
          <p:nvPr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rgbClr val="252F38">
              <a:alpha val="90000"/>
            </a:srgb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78C1E-4F3D-44EB-9DAF-D02D1805E3DC}"/>
              </a:ext>
            </a:extLst>
          </p:cNvPr>
          <p:cNvSpPr/>
          <p:nvPr/>
        </p:nvSpPr>
        <p:spPr>
          <a:xfrm>
            <a:off x="3810000" y="1752600"/>
            <a:ext cx="4572000" cy="3352800"/>
          </a:xfrm>
          <a:prstGeom prst="rect">
            <a:avLst/>
          </a:pr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87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0EB3D77-B3FC-4409-A248-3D0DE579E3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0" y="3179701"/>
            <a:ext cx="4572000" cy="498598"/>
          </a:xfrm>
        </p:spPr>
        <p:txBody>
          <a:bodyPr anchor="ctr" anchorCtr="0">
            <a:spAutoFit/>
          </a:bodyPr>
          <a:lstStyle>
            <a:lvl1pPr algn="ctr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all" spc="-10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BE386A8B-E2C1-455E-9D1F-369A2F5C7E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1546" y="3771900"/>
            <a:ext cx="3048908" cy="18466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339725" indent="0">
              <a:buNone/>
              <a:defRPr/>
            </a:lvl2pPr>
            <a:lvl3pPr marL="573088" indent="0">
              <a:buNone/>
              <a:defRPr/>
            </a:lvl3pPr>
            <a:lvl4pPr marL="798513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IN" dirty="0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3769966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16756" y="609600"/>
            <a:ext cx="10339200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6753" y="1268414"/>
            <a:ext cx="10339200" cy="2466000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8734472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16757" y="608400"/>
            <a:ext cx="10339200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6753" y="1916113"/>
            <a:ext cx="4968000" cy="2466001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417BFC4-460A-4E4B-8451-F51AA4260C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96400" y="1916113"/>
            <a:ext cx="4968000" cy="2466001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3277830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2">
            <a:extLst>
              <a:ext uri="{FF2B5EF4-FFF2-40B4-BE49-F238E27FC236}">
                <a16:creationId xmlns:a16="http://schemas.microsoft.com/office/drawing/2014/main" id="{C1EDC0F4-15C2-4B68-BB57-A0E4B3DCE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756" y="605659"/>
            <a:ext cx="10339200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8E1C6625-3090-482B-9A13-CA9BF33AF0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6756" y="1085952"/>
            <a:ext cx="10339200" cy="198131"/>
          </a:xfrm>
        </p:spPr>
        <p:txBody>
          <a:bodyPr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none" spc="60" baseline="0" dirty="0">
                <a:ln w="3175">
                  <a:noFill/>
                </a:ln>
                <a:solidFill>
                  <a:srgbClr val="7F9FD4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339717" indent="0">
              <a:buNone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62435206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2">
            <a:extLst>
              <a:ext uri="{FF2B5EF4-FFF2-40B4-BE49-F238E27FC236}">
                <a16:creationId xmlns:a16="http://schemas.microsoft.com/office/drawing/2014/main" id="{F953C581-66D1-49CD-8706-9DA69EDCD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756" y="608400"/>
            <a:ext cx="10339200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60672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97" userDrawn="1">
          <p15:clr>
            <a:srgbClr val="FBAE40"/>
          </p15:clr>
        </p15:guide>
        <p15:guide id="2" pos="7083" userDrawn="1">
          <p15:clr>
            <a:srgbClr val="FBAE40"/>
          </p15:clr>
        </p15:guide>
        <p15:guide id="3" orient="horz" pos="119" userDrawn="1">
          <p15:clr>
            <a:srgbClr val="FBAE40"/>
          </p15:clr>
        </p15:guide>
        <p15:guide id="4" orient="horz" pos="392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>
            <a:extLst>
              <a:ext uri="{FF2B5EF4-FFF2-40B4-BE49-F238E27FC236}">
                <a16:creationId xmlns:a16="http://schemas.microsoft.com/office/drawing/2014/main" id="{FB0DDE08-D46D-B83C-76AE-E26499AA7D0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31663" y="6600908"/>
            <a:ext cx="2486346" cy="165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>
              <a:lnSpc>
                <a:spcPct val="90000"/>
              </a:lnSpc>
              <a:spcAft>
                <a:spcPct val="30000"/>
              </a:spcAft>
            </a:pPr>
            <a:r>
              <a:rPr lang="en-US" sz="7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©2017 Avanad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263164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77" imgH="377" progId="TCLayout.ActiveDocument.1">
                  <p:embed/>
                </p:oleObj>
              </mc:Choice>
              <mc:Fallback>
                <p:oleObj name="think-cell Slide" r:id="rId23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916754" y="1268414"/>
            <a:ext cx="10340737" cy="12388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6754" y="611970"/>
            <a:ext cx="10340737" cy="4140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93C0B8-42A2-4012-87AC-FC5CCC380071}"/>
              </a:ext>
            </a:extLst>
          </p:cNvPr>
          <p:cNvSpPr txBox="1"/>
          <p:nvPr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543C9B1-F37B-4970-8AC8-547CC5442788}"/>
              </a:ext>
            </a:extLst>
          </p:cNvPr>
          <p:cNvGrpSpPr/>
          <p:nvPr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16" name="Oval 503">
              <a:extLst>
                <a:ext uri="{FF2B5EF4-FFF2-40B4-BE49-F238E27FC236}">
                  <a16:creationId xmlns:a16="http://schemas.microsoft.com/office/drawing/2014/main" id="{E045B8DF-78E2-49BC-A2EC-F1BB828D860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504">
              <a:extLst>
                <a:ext uri="{FF2B5EF4-FFF2-40B4-BE49-F238E27FC236}">
                  <a16:creationId xmlns:a16="http://schemas.microsoft.com/office/drawing/2014/main" id="{587B8473-884C-4875-A035-59824C0F56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505">
              <a:extLst>
                <a:ext uri="{FF2B5EF4-FFF2-40B4-BE49-F238E27FC236}">
                  <a16:creationId xmlns:a16="http://schemas.microsoft.com/office/drawing/2014/main" id="{54D4FA4C-5763-480E-AFC5-579E1149D7A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506">
              <a:extLst>
                <a:ext uri="{FF2B5EF4-FFF2-40B4-BE49-F238E27FC236}">
                  <a16:creationId xmlns:a16="http://schemas.microsoft.com/office/drawing/2014/main" id="{3C87B15F-BC12-498B-8868-1A100123B5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9355D074-E5E9-9BE8-DCF1-D22FB588F9C0}"/>
              </a:ext>
            </a:extLst>
          </p:cNvPr>
          <p:cNvSpPr/>
          <p:nvPr userDrawn="1"/>
        </p:nvSpPr>
        <p:spPr>
          <a:xfrm>
            <a:off x="12218648" y="576694"/>
            <a:ext cx="155791" cy="527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423D6E6-3302-4B7E-C654-AE1316606B13}"/>
              </a:ext>
            </a:extLst>
          </p:cNvPr>
          <p:cNvSpPr/>
          <p:nvPr userDrawn="1"/>
        </p:nvSpPr>
        <p:spPr>
          <a:xfrm>
            <a:off x="12218648" y="1153388"/>
            <a:ext cx="155791" cy="5275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D5E650-02F9-18AA-35F5-9A67F69F4F48}"/>
              </a:ext>
            </a:extLst>
          </p:cNvPr>
          <p:cNvSpPr/>
          <p:nvPr userDrawn="1"/>
        </p:nvSpPr>
        <p:spPr>
          <a:xfrm>
            <a:off x="12215747" y="2306776"/>
            <a:ext cx="155791" cy="527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73140C2-6793-98CE-FDA8-647FA62FE612}"/>
              </a:ext>
            </a:extLst>
          </p:cNvPr>
          <p:cNvSpPr/>
          <p:nvPr userDrawn="1"/>
        </p:nvSpPr>
        <p:spPr>
          <a:xfrm>
            <a:off x="12215747" y="2883470"/>
            <a:ext cx="155791" cy="5275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464E4A7-64FC-3428-C4EA-3C7BE7A01370}"/>
              </a:ext>
            </a:extLst>
          </p:cNvPr>
          <p:cNvSpPr/>
          <p:nvPr userDrawn="1"/>
        </p:nvSpPr>
        <p:spPr>
          <a:xfrm>
            <a:off x="12215747" y="3460164"/>
            <a:ext cx="155791" cy="5275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792ED2E-D043-A564-A45A-F2A451A0BC42}"/>
              </a:ext>
            </a:extLst>
          </p:cNvPr>
          <p:cNvSpPr/>
          <p:nvPr userDrawn="1"/>
        </p:nvSpPr>
        <p:spPr>
          <a:xfrm>
            <a:off x="12215747" y="4036858"/>
            <a:ext cx="155791" cy="527538"/>
          </a:xfrm>
          <a:prstGeom prst="rect">
            <a:avLst/>
          </a:prstGeom>
          <a:solidFill>
            <a:srgbClr val="006EC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1506588-C77B-000A-72F5-6DFC03525FE5}"/>
              </a:ext>
            </a:extLst>
          </p:cNvPr>
          <p:cNvSpPr/>
          <p:nvPr userDrawn="1"/>
        </p:nvSpPr>
        <p:spPr>
          <a:xfrm>
            <a:off x="12215747" y="1730082"/>
            <a:ext cx="155791" cy="527538"/>
          </a:xfrm>
          <a:prstGeom prst="rect">
            <a:avLst/>
          </a:prstGeom>
          <a:solidFill>
            <a:srgbClr val="89007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D66F1AE-C737-2C53-1681-E525604059EB}"/>
              </a:ext>
            </a:extLst>
          </p:cNvPr>
          <p:cNvSpPr/>
          <p:nvPr userDrawn="1"/>
        </p:nvSpPr>
        <p:spPr>
          <a:xfrm>
            <a:off x="12382950" y="576694"/>
            <a:ext cx="155791" cy="527538"/>
          </a:xfrm>
          <a:prstGeom prst="rect">
            <a:avLst/>
          </a:prstGeom>
          <a:solidFill>
            <a:srgbClr val="A5064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CD8C0BB-A05D-0967-610F-687003ED0559}"/>
              </a:ext>
            </a:extLst>
          </p:cNvPr>
          <p:cNvSpPr/>
          <p:nvPr userDrawn="1"/>
        </p:nvSpPr>
        <p:spPr>
          <a:xfrm>
            <a:off x="12382950" y="1153388"/>
            <a:ext cx="155791" cy="527538"/>
          </a:xfrm>
          <a:prstGeom prst="rect">
            <a:avLst/>
          </a:prstGeom>
          <a:solidFill>
            <a:srgbClr val="9E120E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6DC10BD-5164-928A-E691-802916FEA92C}"/>
              </a:ext>
            </a:extLst>
          </p:cNvPr>
          <p:cNvSpPr/>
          <p:nvPr userDrawn="1"/>
        </p:nvSpPr>
        <p:spPr>
          <a:xfrm>
            <a:off x="12380049" y="2306776"/>
            <a:ext cx="155791" cy="527538"/>
          </a:xfrm>
          <a:prstGeom prst="rect">
            <a:avLst/>
          </a:prstGeom>
          <a:solidFill>
            <a:srgbClr val="E6A6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00CC527-6CEB-1B27-6085-5D5D2025C087}"/>
              </a:ext>
            </a:extLst>
          </p:cNvPr>
          <p:cNvSpPr/>
          <p:nvPr userDrawn="1"/>
        </p:nvSpPr>
        <p:spPr>
          <a:xfrm>
            <a:off x="12380049" y="2883470"/>
            <a:ext cx="155791" cy="527538"/>
          </a:xfrm>
          <a:prstGeom prst="rect">
            <a:avLst/>
          </a:prstGeom>
          <a:solidFill>
            <a:srgbClr val="0573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5B334C5-32DC-B85F-FE03-A272B39AF78A}"/>
              </a:ext>
            </a:extLst>
          </p:cNvPr>
          <p:cNvSpPr/>
          <p:nvPr userDrawn="1"/>
        </p:nvSpPr>
        <p:spPr>
          <a:xfrm>
            <a:off x="12380049" y="3460164"/>
            <a:ext cx="155791" cy="527538"/>
          </a:xfrm>
          <a:prstGeom prst="rect">
            <a:avLst/>
          </a:prstGeom>
          <a:solidFill>
            <a:srgbClr val="005F6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64347CD-6EC6-D804-E40A-F1797CDE43D1}"/>
              </a:ext>
            </a:extLst>
          </p:cNvPr>
          <p:cNvSpPr/>
          <p:nvPr userDrawn="1"/>
        </p:nvSpPr>
        <p:spPr>
          <a:xfrm>
            <a:off x="12380049" y="4036858"/>
            <a:ext cx="155791" cy="527538"/>
          </a:xfrm>
          <a:prstGeom prst="rect">
            <a:avLst/>
          </a:prstGeom>
          <a:solidFill>
            <a:srgbClr val="05508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4B6B356-6C17-F221-412E-654CF403AD7D}"/>
              </a:ext>
            </a:extLst>
          </p:cNvPr>
          <p:cNvSpPr/>
          <p:nvPr userDrawn="1"/>
        </p:nvSpPr>
        <p:spPr>
          <a:xfrm>
            <a:off x="12380049" y="1730082"/>
            <a:ext cx="155791" cy="527538"/>
          </a:xfrm>
          <a:prstGeom prst="rect">
            <a:avLst/>
          </a:prstGeom>
          <a:solidFill>
            <a:srgbClr val="5A145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7922DCE-F363-63CB-97E6-974043832E67}"/>
              </a:ext>
            </a:extLst>
          </p:cNvPr>
          <p:cNvSpPr/>
          <p:nvPr userDrawn="1"/>
        </p:nvSpPr>
        <p:spPr>
          <a:xfrm>
            <a:off x="12218648" y="0"/>
            <a:ext cx="155791" cy="527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50428B1-029D-1284-1441-E30F6137A029}"/>
              </a:ext>
            </a:extLst>
          </p:cNvPr>
          <p:cNvSpPr/>
          <p:nvPr userDrawn="1"/>
        </p:nvSpPr>
        <p:spPr>
          <a:xfrm>
            <a:off x="12382950" y="0"/>
            <a:ext cx="155791" cy="527538"/>
          </a:xfrm>
          <a:prstGeom prst="rect">
            <a:avLst/>
          </a:prstGeom>
          <a:solidFill>
            <a:srgbClr val="CC46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8203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  <p:sldLayoutId id="2147483897" r:id="rId11"/>
    <p:sldLayoutId id="2147483898" r:id="rId12"/>
    <p:sldLayoutId id="2147483899" r:id="rId13"/>
    <p:sldLayoutId id="2147483900" r:id="rId14"/>
    <p:sldLayoutId id="2147483901" r:id="rId15"/>
    <p:sldLayoutId id="2147483902" r:id="rId16"/>
    <p:sldLayoutId id="2147483903" r:id="rId17"/>
    <p:sldLayoutId id="2147483905" r:id="rId18"/>
    <p:sldLayoutId id="2147483923" r:id="rId19"/>
    <p:sldLayoutId id="2147483925" r:id="rId20"/>
  </p:sldLayoutIdLst>
  <p:transition>
    <p:fade/>
  </p:transition>
  <p:hf hdr="0" dt="0"/>
  <p:txStyles>
    <p:titleStyle>
      <a:lvl1pPr marL="0" algn="l" defTabSz="914377" rtl="0" eaLnBrk="1" latinLnBrk="0" hangingPunct="1">
        <a:lnSpc>
          <a:spcPct val="85000"/>
        </a:lnSpc>
        <a:spcBef>
          <a:spcPct val="0"/>
        </a:spcBef>
        <a:buNone/>
        <a:defRPr lang="en-US" sz="2400" b="0" kern="1200" cap="all" spc="0" baseline="0" dirty="0">
          <a:ln w="3175">
            <a:noFill/>
          </a:ln>
          <a:solidFill>
            <a:srgbClr val="252F38"/>
          </a:solidFill>
          <a:effectLst/>
          <a:latin typeface="+mj-lt"/>
          <a:ea typeface="+mn-ea"/>
          <a:cs typeface="+mn-cs"/>
        </a:defRPr>
      </a:lvl1pPr>
    </p:titleStyle>
    <p:bodyStyle>
      <a:lvl1pPr marL="0" marR="0" indent="0" algn="l" defTabSz="914377" rtl="0" eaLnBrk="1" fontAlgn="auto" latinLnBrk="0" hangingPunct="1">
        <a:lnSpc>
          <a:spcPct val="150000"/>
        </a:lnSpc>
        <a:spcBef>
          <a:spcPts val="2400"/>
        </a:spcBef>
        <a:spcAft>
          <a:spcPts val="0"/>
        </a:spcAft>
        <a:buClrTx/>
        <a:buSzPct val="100000"/>
        <a:buFont typeface="Arial" pitchFamily="34" charset="0"/>
        <a:buNone/>
        <a:tabLst/>
        <a:defRPr lang="en-US" sz="1100" kern="1200" cap="none" spc="0" baseline="0" dirty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1pPr>
      <a:lvl2pPr marL="342900" marR="0" indent="-342900" algn="l" defTabSz="91436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lang="en-US" sz="1100" kern="1200" spc="0" baseline="0" dirty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2pPr>
      <a:lvl3pPr marL="574669" marR="0" indent="-342900" algn="l" defTabSz="91436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>
          <a:tab pos="798513" algn="l"/>
        </a:tabLst>
        <a:defRPr lang="en-US" sz="1100" kern="1200" spc="0" baseline="0" dirty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3pPr>
      <a:lvl4pPr marL="800089" marR="0" indent="-342900" algn="l" defTabSz="91436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lang="en-US" sz="1100" kern="1200" spc="0" baseline="0" dirty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4pPr>
      <a:lvl5pPr marL="1036622" marR="0" indent="-342900" algn="l" defTabSz="91436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>
          <a:tab pos="1255713" algn="l"/>
        </a:tabLst>
        <a:defRPr lang="en-US" sz="1100" kern="1200" spc="0" baseline="0" dirty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499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2">
          <p15:clr>
            <a:srgbClr val="F26B43"/>
          </p15:clr>
        </p15:guide>
        <p15:guide id="2" pos="576">
          <p15:clr>
            <a:srgbClr val="F26B43"/>
          </p15:clr>
        </p15:guide>
        <p15:guide id="3" pos="7093">
          <p15:clr>
            <a:srgbClr val="F26B43"/>
          </p15:clr>
        </p15:guide>
        <p15:guide id="4" orient="horz" pos="379">
          <p15:clr>
            <a:srgbClr val="F26B43"/>
          </p15:clr>
        </p15:guide>
        <p15:guide id="6" orient="horz" pos="3912">
          <p15:clr>
            <a:srgbClr val="F26B43"/>
          </p15:clr>
        </p15:guide>
        <p15:guide id="7" orient="horz" pos="386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078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5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269239" y="1189177"/>
            <a:ext cx="11653523" cy="2051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41648" y="6611112"/>
            <a:ext cx="4114800" cy="2286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marL="0" algn="ctr" defTabSz="914367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1000" kern="1200" dirty="0" smtClean="0">
                <a:solidFill>
                  <a:srgbClr val="50505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© 2021 Microsoft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5" y="6437742"/>
            <a:ext cx="555597" cy="133860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 defTabSz="914367" fontAlgn="auto">
              <a:spcBef>
                <a:spcPts val="0"/>
              </a:spcBef>
              <a:spcAft>
                <a:spcPts val="0"/>
              </a:spcAft>
              <a:defRPr lang="en-US" sz="882" b="0" kern="120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E4C8473-95EA-48C2-917D-84A3AF9AB99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001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  <p:sldLayoutId id="2147483913" r:id="rId2"/>
    <p:sldLayoutId id="2147483914" r:id="rId3"/>
  </p:sldLayoutIdLst>
  <p:transition>
    <p:fade/>
  </p:transition>
  <p:hf hdr="0" dt="0"/>
  <p:txStyles>
    <p:titleStyle>
      <a:lvl1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5294" kern="1200" spc="-100" dirty="0">
          <a:ln w="3175">
            <a:noFill/>
          </a:ln>
          <a:solidFill>
            <a:schemeClr val="tx2"/>
          </a:solidFill>
          <a:latin typeface="+mj-lt"/>
          <a:ea typeface="ＭＳ Ｐゴシック" charset="0"/>
          <a:cs typeface="Segoe UI" pitchFamily="34" charset="0"/>
        </a:defRPr>
      </a:lvl1pPr>
      <a:lvl2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2pPr>
      <a:lvl3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3pPr>
      <a:lvl4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4pPr>
      <a:lvl5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5pPr>
      <a:lvl6pPr marL="448193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6pPr>
      <a:lvl7pPr marL="896386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7pPr>
      <a:lvl8pPr marL="1344579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8pPr>
      <a:lvl9pPr marL="1792773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9pPr>
    </p:titleStyle>
    <p:bodyStyle>
      <a:lvl1pPr marL="336145" indent="-336145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3921" kern="1200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marL="572691" indent="-236546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2353" kern="1200">
          <a:solidFill>
            <a:schemeClr val="tx2"/>
          </a:solidFill>
          <a:latin typeface="+mn-lt"/>
          <a:ea typeface="ＭＳ Ｐゴシック" charset="0"/>
          <a:cs typeface="+mn-cs"/>
        </a:defRPr>
      </a:lvl2pPr>
      <a:lvl3pPr marL="784338" indent="-224097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1961" kern="1200">
          <a:solidFill>
            <a:schemeClr val="tx2"/>
          </a:solidFill>
          <a:latin typeface="+mn-lt"/>
          <a:ea typeface="ＭＳ Ｐゴシック" charset="0"/>
          <a:cs typeface="+mn-cs"/>
        </a:defRPr>
      </a:lvl3pPr>
      <a:lvl4pPr marL="1008435" indent="-224097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solidFill>
            <a:schemeClr val="tx2"/>
          </a:solidFill>
          <a:latin typeface="+mn-lt"/>
          <a:ea typeface="ＭＳ Ｐゴシック" charset="0"/>
          <a:cs typeface="+mn-cs"/>
        </a:defRPr>
      </a:lvl4pPr>
      <a:lvl5pPr marL="1232531" indent="-224097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solidFill>
            <a:schemeClr val="tx2"/>
          </a:solidFill>
          <a:latin typeface="+mn-lt"/>
          <a:ea typeface="ＭＳ Ｐゴシック" charset="0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8">
          <p15:clr>
            <a:srgbClr val="C35EA4"/>
          </p15:clr>
        </p15:guide>
        <p15:guide id="24" pos="7546">
          <p15:clr>
            <a:srgbClr val="C35EA4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078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5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269239" y="1189177"/>
            <a:ext cx="11653523" cy="2051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41648" y="6611112"/>
            <a:ext cx="4114800" cy="2286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marL="0" algn="ctr" defTabSz="914367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1000" kern="1200" dirty="0" smtClean="0">
                <a:solidFill>
                  <a:srgbClr val="50505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© 2021 Microsoft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5" y="6437742"/>
            <a:ext cx="555597" cy="133860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 defTabSz="914367" fontAlgn="auto">
              <a:spcBef>
                <a:spcPts val="0"/>
              </a:spcBef>
              <a:spcAft>
                <a:spcPts val="0"/>
              </a:spcAft>
              <a:defRPr lang="en-US" sz="882" b="0" kern="120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E4C8473-95EA-48C2-917D-84A3AF9AB99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4116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  <p:sldLayoutId id="2147483919" r:id="rId2"/>
    <p:sldLayoutId id="2147483920" r:id="rId3"/>
    <p:sldLayoutId id="2147483921" r:id="rId4"/>
    <p:sldLayoutId id="2147483922" r:id="rId5"/>
  </p:sldLayoutIdLst>
  <p:transition>
    <p:fade/>
  </p:transition>
  <p:hf hdr="0" dt="0"/>
  <p:txStyles>
    <p:titleStyle>
      <a:lvl1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5294" kern="1200" spc="-100" dirty="0">
          <a:ln w="3175">
            <a:noFill/>
          </a:ln>
          <a:solidFill>
            <a:schemeClr val="tx2"/>
          </a:solidFill>
          <a:latin typeface="+mj-lt"/>
          <a:ea typeface="ＭＳ Ｐゴシック" charset="0"/>
          <a:cs typeface="Segoe UI" pitchFamily="34" charset="0"/>
        </a:defRPr>
      </a:lvl1pPr>
      <a:lvl2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2pPr>
      <a:lvl3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3pPr>
      <a:lvl4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4pPr>
      <a:lvl5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5pPr>
      <a:lvl6pPr marL="448193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6pPr>
      <a:lvl7pPr marL="896386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7pPr>
      <a:lvl8pPr marL="1344579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8pPr>
      <a:lvl9pPr marL="1792773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9pPr>
    </p:titleStyle>
    <p:bodyStyle>
      <a:lvl1pPr marL="336145" indent="-336145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3921" kern="1200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marL="572691" indent="-236546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2353" kern="1200">
          <a:solidFill>
            <a:schemeClr val="tx2"/>
          </a:solidFill>
          <a:latin typeface="+mn-lt"/>
          <a:ea typeface="ＭＳ Ｐゴシック" charset="0"/>
          <a:cs typeface="+mn-cs"/>
        </a:defRPr>
      </a:lvl2pPr>
      <a:lvl3pPr marL="784338" indent="-224097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1961" kern="1200">
          <a:solidFill>
            <a:schemeClr val="tx2"/>
          </a:solidFill>
          <a:latin typeface="+mn-lt"/>
          <a:ea typeface="ＭＳ Ｐゴシック" charset="0"/>
          <a:cs typeface="+mn-cs"/>
        </a:defRPr>
      </a:lvl3pPr>
      <a:lvl4pPr marL="1008435" indent="-224097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solidFill>
            <a:schemeClr val="tx2"/>
          </a:solidFill>
          <a:latin typeface="+mn-lt"/>
          <a:ea typeface="ＭＳ Ｐゴシック" charset="0"/>
          <a:cs typeface="+mn-cs"/>
        </a:defRPr>
      </a:lvl4pPr>
      <a:lvl5pPr marL="1232531" indent="-224097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solidFill>
            <a:schemeClr val="tx2"/>
          </a:solidFill>
          <a:latin typeface="+mn-lt"/>
          <a:ea typeface="ＭＳ Ｐゴシック" charset="0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8">
          <p15:clr>
            <a:srgbClr val="C35EA4"/>
          </p15:clr>
        </p15:guide>
        <p15:guide id="24" pos="7546">
          <p15:clr>
            <a:srgbClr val="C35EA4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4" Type="http://schemas.openxmlformats.org/officeDocument/2006/relationships/hyperlink" Target="https://learn.microsoft.com/en-us/power-bi/connect-data/incremental-refresh-configure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Relationship Id="rId5" Type="http://schemas.openxmlformats.org/officeDocument/2006/relationships/hyperlink" Target="https://docs.microsoft.com/en-us/power-query/power-query-query-parameters" TargetMode="External"/><Relationship Id="rId4" Type="http://schemas.openxmlformats.org/officeDocument/2006/relationships/image" Target="../media/image46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13" Type="http://schemas.openxmlformats.org/officeDocument/2006/relationships/image" Target="../media/image18.gif"/><Relationship Id="rId18" Type="http://schemas.openxmlformats.org/officeDocument/2006/relationships/image" Target="../media/image21.png"/><Relationship Id="rId3" Type="http://schemas.openxmlformats.org/officeDocument/2006/relationships/hyperlink" Target="https://www.linkedin.com/in/rubenvadnai/" TargetMode="External"/><Relationship Id="rId21" Type="http://schemas.microsoft.com/office/2007/relationships/hdphoto" Target="../media/hdphoto3.wdp"/><Relationship Id="rId7" Type="http://schemas.openxmlformats.org/officeDocument/2006/relationships/image" Target="../media/image12.jpg"/><Relationship Id="rId12" Type="http://schemas.openxmlformats.org/officeDocument/2006/relationships/image" Target="../media/image17.jpg"/><Relationship Id="rId17" Type="http://schemas.microsoft.com/office/2007/relationships/hdphoto" Target="../media/hdphoto2.wdp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0.png"/><Relationship Id="rId20" Type="http://schemas.openxmlformats.org/officeDocument/2006/relationships/image" Target="../media/image23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1.jpg"/><Relationship Id="rId11" Type="http://schemas.openxmlformats.org/officeDocument/2006/relationships/image" Target="../media/image16.png"/><Relationship Id="rId24" Type="http://schemas.microsoft.com/office/2007/relationships/hdphoto" Target="../media/hdphoto4.wdp"/><Relationship Id="rId5" Type="http://schemas.openxmlformats.org/officeDocument/2006/relationships/image" Target="../media/image10.jpeg"/><Relationship Id="rId15" Type="http://schemas.microsoft.com/office/2007/relationships/hdphoto" Target="../media/hdphoto1.wdp"/><Relationship Id="rId23" Type="http://schemas.openxmlformats.org/officeDocument/2006/relationships/image" Target="../media/image25.png"/><Relationship Id="rId10" Type="http://schemas.openxmlformats.org/officeDocument/2006/relationships/image" Target="../media/image15.png"/><Relationship Id="rId19" Type="http://schemas.openxmlformats.org/officeDocument/2006/relationships/image" Target="../media/image22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png"/><Relationship Id="rId22" Type="http://schemas.openxmlformats.org/officeDocument/2006/relationships/image" Target="../media/image2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power-bi/transform-model/aggregations-advanced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60.svg"/><Relationship Id="rId3" Type="http://schemas.openxmlformats.org/officeDocument/2006/relationships/image" Target="../media/image8.png"/><Relationship Id="rId7" Type="http://schemas.openxmlformats.org/officeDocument/2006/relationships/image" Target="../media/image54.svg"/><Relationship Id="rId12" Type="http://schemas.openxmlformats.org/officeDocument/2006/relationships/image" Target="../media/image5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3.png"/><Relationship Id="rId11" Type="http://schemas.openxmlformats.org/officeDocument/2006/relationships/image" Target="../media/image58.svg"/><Relationship Id="rId5" Type="http://schemas.openxmlformats.org/officeDocument/2006/relationships/image" Target="../media/image52.svg"/><Relationship Id="rId15" Type="http://schemas.openxmlformats.org/officeDocument/2006/relationships/image" Target="../media/image62.svg"/><Relationship Id="rId10" Type="http://schemas.openxmlformats.org/officeDocument/2006/relationships/image" Target="../media/image57.png"/><Relationship Id="rId4" Type="http://schemas.openxmlformats.org/officeDocument/2006/relationships/image" Target="../media/image51.png"/><Relationship Id="rId9" Type="http://schemas.openxmlformats.org/officeDocument/2006/relationships/image" Target="../media/image56.svg"/><Relationship Id="rId14" Type="http://schemas.openxmlformats.org/officeDocument/2006/relationships/image" Target="../media/image6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8.xml"/><Relationship Id="rId4" Type="http://schemas.openxmlformats.org/officeDocument/2006/relationships/hyperlink" Target="https://msdn.microsoft.com/en-us/library/mt270235.aspx?f=255&amp;MSPPError=-2147217396" TargetMode="External"/></Relationships>
</file>

<file path=ppt/slides/_rels/slide4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8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8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8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8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8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8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image" Target="../media/image78.png"/><Relationship Id="rId7" Type="http://schemas.openxmlformats.org/officeDocument/2006/relationships/image" Target="../media/image82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79.png"/><Relationship Id="rId9" Type="http://schemas.openxmlformats.org/officeDocument/2006/relationships/image" Target="../media/image84.png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image" Target="../media/image85.png"/><Relationship Id="rId7" Type="http://schemas.openxmlformats.org/officeDocument/2006/relationships/image" Target="../media/image89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8.png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92.png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8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8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5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98.png"/><Relationship Id="rId4" Type="http://schemas.openxmlformats.org/officeDocument/2006/relationships/image" Target="../media/image97.png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8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0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0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3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8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8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8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.enterprisedna.co/dax-query-in-power-bi-logical-physical-query-plans/" TargetMode="External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8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8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7" Type="http://schemas.openxmlformats.org/officeDocument/2006/relationships/image" Target="../media/image104.pn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03.png"/><Relationship Id="rId5" Type="http://schemas.openxmlformats.org/officeDocument/2006/relationships/image" Target="../media/image102.png"/><Relationship Id="rId4" Type="http://schemas.openxmlformats.org/officeDocument/2006/relationships/image" Target="../media/image101.svg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18.xml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hyperlink" Target="https://learn.microsoft.com/en-us/power-query/query-plan" TargetMode="External"/><Relationship Id="rId3" Type="http://schemas.openxmlformats.org/officeDocument/2006/relationships/hyperlink" Target="https://learn.microsoft.com/en-us/power-query/power-query-folding#transformations-that-can-achieve-folding" TargetMode="External"/><Relationship Id="rId7" Type="http://schemas.openxmlformats.org/officeDocument/2006/relationships/hyperlink" Target="https://learn.microsoft.com/en-us/power-query/query-folding-examples" TargetMode="External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18.xml"/><Relationship Id="rId6" Type="http://schemas.openxmlformats.org/officeDocument/2006/relationships/hyperlink" Target="https://learn.microsoft.com/en-us/power-query/step-folding-indicators" TargetMode="External"/><Relationship Id="rId5" Type="http://schemas.openxmlformats.org/officeDocument/2006/relationships/hyperlink" Target="https://learn.microsoft.com/en-us/power-query/power-query-folding#determine-when-a-query-can-be-folded" TargetMode="External"/><Relationship Id="rId10" Type="http://schemas.openxmlformats.org/officeDocument/2006/relationships/image" Target="../media/image106.png"/><Relationship Id="rId4" Type="http://schemas.openxmlformats.org/officeDocument/2006/relationships/hyperlink" Target="https://learn.microsoft.com/en-us/power-query/power-query-folding#transformations-that-prevent-folding" TargetMode="External"/><Relationship Id="rId9" Type="http://schemas.openxmlformats.org/officeDocument/2006/relationships/hyperlink" Target="https://towardsdatascience.com/exploring-query-folding-in-power-query-8288fb3c9c2f" TargetMode="Externa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18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18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18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18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18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8.png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hyperlink" Target="https://daxstudio.org/" TargetMode="External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9.png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github.com/microsoft/Analysis-Services/blob/master/BismNormalizer/Model%20Comparison%20and%20Merging%20for%20Analysis%20Services.pdf" TargetMode="External"/><Relationship Id="rId4" Type="http://schemas.openxmlformats.org/officeDocument/2006/relationships/image" Target="../media/image111.svg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hyperlink" Target="http://alm-toolkit.com/" TargetMode="External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11.svg"/><Relationship Id="rId4" Type="http://schemas.openxmlformats.org/officeDocument/2006/relationships/image" Target="../media/image1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B36248F3-63AE-318E-8BC0-744984A59FF2}"/>
              </a:ext>
            </a:extLst>
          </p:cNvPr>
          <p:cNvSpPr txBox="1">
            <a:spLocks/>
          </p:cNvSpPr>
          <p:nvPr/>
        </p:nvSpPr>
        <p:spPr>
          <a:xfrm>
            <a:off x="2740826" y="1884455"/>
            <a:ext cx="4293699" cy="67718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50000"/>
              </a:lnSpc>
              <a:spcBef>
                <a:spcPts val="24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lang="en-US" sz="1100" kern="1200" cap="none" spc="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900" marR="0" indent="-342900" algn="l" defTabSz="9143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100" kern="1200" spc="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74669" marR="0" indent="-342900" algn="l" defTabSz="9143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798513" algn="l"/>
              </a:tabLst>
              <a:defRPr lang="en-US" sz="1100" kern="1200" spc="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00089" marR="0" indent="-342900" algn="l" defTabSz="9143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100" kern="1200" spc="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036622" marR="0" indent="-342900" algn="l" defTabSz="9143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1255713" algn="l"/>
              </a:tabLst>
              <a:defRPr lang="en-US" sz="1100" kern="1200" spc="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3200" dirty="0">
                <a:solidFill>
                  <a:schemeClr val="tx1"/>
                </a:solidFill>
              </a:rPr>
              <a:t>Advanced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67B3C34B-7194-183A-778E-1BEBB95497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0827" y="2611481"/>
            <a:ext cx="5492978" cy="817519"/>
          </a:xfrm>
        </p:spPr>
        <p:txBody>
          <a:bodyPr/>
          <a:lstStyle/>
          <a:p>
            <a:r>
              <a:rPr lang="en-US" sz="4400" cap="none" dirty="0">
                <a:solidFill>
                  <a:srgbClr val="FED112"/>
                </a:solidFill>
              </a:rPr>
              <a:t>Power BI </a:t>
            </a:r>
            <a:r>
              <a:rPr lang="en-US" cap="none" dirty="0"/>
              <a:t>Training</a:t>
            </a:r>
            <a:endParaRPr lang="en-US" dirty="0"/>
          </a:p>
        </p:txBody>
      </p:sp>
      <p:pic>
        <p:nvPicPr>
          <p:cNvPr id="7" name="Picture 6" descr="A picture containing plate, light&#10;&#10;Description automatically generated">
            <a:extLst>
              <a:ext uri="{FF2B5EF4-FFF2-40B4-BE49-F238E27FC236}">
                <a16:creationId xmlns:a16="http://schemas.microsoft.com/office/drawing/2014/main" id="{EF0F2445-77CC-E5D6-7EF4-B9D80FC42C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4397" y="2561642"/>
            <a:ext cx="1016430" cy="677186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0D87467-47F4-BDEF-1B49-3D1B5218E1B1}"/>
              </a:ext>
            </a:extLst>
          </p:cNvPr>
          <p:cNvSpPr txBox="1">
            <a:spLocks/>
          </p:cNvSpPr>
          <p:nvPr/>
        </p:nvSpPr>
        <p:spPr>
          <a:xfrm>
            <a:off x="1165860" y="3429000"/>
            <a:ext cx="7147559" cy="613337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50000"/>
              </a:lnSpc>
              <a:spcBef>
                <a:spcPts val="24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lang="en-US" sz="1100" kern="1200" cap="none" spc="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900" marR="0" indent="-342900" algn="l" defTabSz="9143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100" kern="1200" spc="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74669" marR="0" indent="-342900" algn="l" defTabSz="9143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798513" algn="l"/>
              </a:tabLst>
              <a:defRPr lang="en-US" sz="1100" kern="1200" spc="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00089" marR="0" indent="-342900" algn="l" defTabSz="9143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100" kern="1200" spc="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036622" marR="0" indent="-342900" algn="l" defTabSz="9143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1255713" algn="l"/>
              </a:tabLst>
              <a:defRPr lang="en-US" sz="1100" kern="1200" spc="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n-US" sz="2400" dirty="0"/>
              <a:t>UMB Session 3 </a:t>
            </a:r>
          </a:p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n-US" sz="2400" dirty="0"/>
              <a:t>Tabular Modeling &amp; Optimization</a:t>
            </a:r>
          </a:p>
        </p:txBody>
      </p:sp>
    </p:spTree>
    <p:extLst>
      <p:ext uri="{BB962C8B-B14F-4D97-AF65-F5344CB8AC3E}">
        <p14:creationId xmlns:p14="http://schemas.microsoft.com/office/powerpoint/2010/main" val="899516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1F9F411-4402-4D1E-8F8B-469987EF8C0C}"/>
              </a:ext>
            </a:extLst>
          </p:cNvPr>
          <p:cNvSpPr txBox="1"/>
          <p:nvPr/>
        </p:nvSpPr>
        <p:spPr>
          <a:xfrm>
            <a:off x="83820" y="6637020"/>
            <a:ext cx="2019300" cy="220980"/>
          </a:xfrm>
          <a:prstGeom prst="rect">
            <a:avLst/>
          </a:prstGeom>
          <a:solidFill>
            <a:schemeClr val="bg1"/>
          </a:solidFill>
        </p:spPr>
        <p:txBody>
          <a:bodyPr wrap="square" lIns="182880" tIns="146304" rIns="182880" bIns="146304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097AE7E-CEB3-47C2-BB0A-F874FA580697}"/>
              </a:ext>
            </a:extLst>
          </p:cNvPr>
          <p:cNvSpPr txBox="1"/>
          <p:nvPr/>
        </p:nvSpPr>
        <p:spPr>
          <a:xfrm>
            <a:off x="369570" y="413504"/>
            <a:ext cx="968121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Getting the data - Data Connection 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802A438-B7CE-44AE-BA3A-59D38DA6049D}"/>
              </a:ext>
            </a:extLst>
          </p:cNvPr>
          <p:cNvSpPr/>
          <p:nvPr/>
        </p:nvSpPr>
        <p:spPr>
          <a:xfrm>
            <a:off x="833168" y="925065"/>
            <a:ext cx="4958032" cy="4062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125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000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Power BI data has two types of connections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000" kern="0" dirty="0">
              <a:gradFill>
                <a:gsLst>
                  <a:gs pos="125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R="0" lvl="0" fontAlgn="auto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200" b="1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Import data</a:t>
            </a:r>
          </a:p>
          <a:p>
            <a:pPr lvl="1" indent="-27432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Connect to a data source and import directly to the .</a:t>
            </a:r>
            <a:r>
              <a:rPr lang="en-US" kern="0" dirty="0" err="1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pbix</a:t>
            </a:r>
            <a:r>
              <a:rPr lang="en-US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 file</a:t>
            </a:r>
          </a:p>
          <a:p>
            <a:pPr lvl="1" indent="-27432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Data cached in-memory</a:t>
            </a:r>
          </a:p>
          <a:p>
            <a:pPr lvl="1" indent="-27432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n-US" sz="2200" b="1" kern="0" dirty="0">
              <a:gradFill>
                <a:gsLst>
                  <a:gs pos="125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R="0" lvl="0" fontAlgn="auto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200" b="1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Live connect</a:t>
            </a:r>
          </a:p>
          <a:p>
            <a:pPr lvl="1" indent="-27432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Direct query to a database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125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63E8EAD-F1AC-9A4A-367C-D50CAB1E8B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cap="none" dirty="0">
                <a:latin typeface="+mn-lt"/>
              </a:rPr>
              <a:t>Getting the data - Data Connection </a:t>
            </a:r>
            <a:endParaRPr lang="en-US" sz="3200" cap="none" baseline="0" dirty="0">
              <a:latin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272206C-6252-C7A3-F33F-F49F3BC61C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0802" y="1487301"/>
            <a:ext cx="4488180" cy="194662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0061E5AB-265A-C4CB-8202-052BFB8C1A53}"/>
              </a:ext>
            </a:extLst>
          </p:cNvPr>
          <p:cNvSpPr txBox="1"/>
          <p:nvPr/>
        </p:nvSpPr>
        <p:spPr>
          <a:xfrm>
            <a:off x="1080134" y="5853037"/>
            <a:ext cx="942213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Both connections can be used from various on premise or cloud data sources 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4AD3997-6FA3-F788-0936-DC32E8FF16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00802" y="3792017"/>
            <a:ext cx="2452348" cy="1813459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57274193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8097AE7E-CEB3-47C2-BB0A-F874FA580697}"/>
              </a:ext>
            </a:extLst>
          </p:cNvPr>
          <p:cNvSpPr txBox="1"/>
          <p:nvPr/>
        </p:nvSpPr>
        <p:spPr>
          <a:xfrm>
            <a:off x="369570" y="413504"/>
            <a:ext cx="968121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Getting the data - Data Connection 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802A438-B7CE-44AE-BA3A-59D38DA6049D}"/>
              </a:ext>
            </a:extLst>
          </p:cNvPr>
          <p:cNvSpPr/>
          <p:nvPr/>
        </p:nvSpPr>
        <p:spPr>
          <a:xfrm>
            <a:off x="810308" y="971231"/>
            <a:ext cx="9880552" cy="47551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gradFill>
                <a:gsLst>
                  <a:gs pos="125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Three different types of data storage modes can be specified for every table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Import Mode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125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 indent="-27432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Import data into Power BI (creates a copy of the data)</a:t>
            </a:r>
          </a:p>
          <a:p>
            <a:pPr lvl="1" indent="-27432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Queries can be fulfilled from cached data</a:t>
            </a:r>
          </a:p>
          <a:p>
            <a:pPr lvl="1" indent="-27432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Example: Excel, SharePoint, CSV, OData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Direct Query Mode</a:t>
            </a:r>
          </a:p>
          <a:p>
            <a:pPr lvl="1" indent="-27432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Direct query to SQL or other relational source</a:t>
            </a:r>
          </a:p>
          <a:p>
            <a:pPr lvl="1" indent="-27432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Executes on demand queries to the data source</a:t>
            </a:r>
          </a:p>
          <a:p>
            <a:pPr lvl="1" indent="-27432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Example: Analysis Services Tabular, SQL DW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Dual Mode</a:t>
            </a:r>
          </a:p>
          <a:p>
            <a:pPr lvl="1" indent="-27432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Acts as either cached or not cached, depending on query contex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63E8EAD-F1AC-9A4A-367C-D50CAB1E8B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cap="none" dirty="0">
                <a:latin typeface="+mn-lt"/>
              </a:rPr>
              <a:t>Getting the data - Data Storage Mode</a:t>
            </a:r>
            <a:endParaRPr lang="en-US" sz="3200" cap="none" baseline="0" dirty="0">
              <a:latin typeface="+mn-l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DB073F0-1204-5DE3-51C3-FE044A13D2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30562" y="2094017"/>
            <a:ext cx="5081377" cy="2669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25473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63E8EAD-F1AC-9A4A-367C-D50CAB1E8B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cap="none" dirty="0">
                <a:latin typeface="+mn-lt"/>
              </a:rPr>
              <a:t>Data Import vs </a:t>
            </a:r>
            <a:r>
              <a:rPr lang="en-US" sz="3200" cap="none" dirty="0" err="1">
                <a:latin typeface="+mn-lt"/>
              </a:rPr>
              <a:t>DirectQuery</a:t>
            </a:r>
            <a:r>
              <a:rPr lang="en-US" sz="3200" cap="none" dirty="0">
                <a:latin typeface="+mn-lt"/>
              </a:rPr>
              <a:t> Storage Mode</a:t>
            </a:r>
            <a:endParaRPr lang="en-US" sz="3200" cap="none" baseline="0" dirty="0">
              <a:latin typeface="+mn-lt"/>
            </a:endParaRPr>
          </a:p>
        </p:txBody>
      </p:sp>
      <p:sp>
        <p:nvSpPr>
          <p:cNvPr id="2" name="Content Placeholder 4">
            <a:extLst>
              <a:ext uri="{FF2B5EF4-FFF2-40B4-BE49-F238E27FC236}">
                <a16:creationId xmlns:a16="http://schemas.microsoft.com/office/drawing/2014/main" id="{451078C7-5B8E-29B0-5599-C5352C107714}"/>
              </a:ext>
            </a:extLst>
          </p:cNvPr>
          <p:cNvSpPr txBox="1">
            <a:spLocks/>
          </p:cNvSpPr>
          <p:nvPr/>
        </p:nvSpPr>
        <p:spPr>
          <a:xfrm>
            <a:off x="916756" y="1544003"/>
            <a:ext cx="10270415" cy="4351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0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Import Data</a:t>
            </a:r>
            <a:r>
              <a:rPr lang="en-US" dirty="0"/>
              <a:t> to Power BI wherever possible to:</a:t>
            </a:r>
          </a:p>
          <a:p>
            <a:endParaRPr lang="en-US" sz="100" dirty="0"/>
          </a:p>
          <a:p>
            <a:pPr marL="457200" lvl="1" indent="-27432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Leverage PBI’s high performance query engine (Vertipaq)</a:t>
            </a:r>
          </a:p>
          <a:p>
            <a:pPr marL="457200" lvl="1" indent="-27432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Provide a higher performance and highly interactive user experience</a:t>
            </a:r>
          </a:p>
          <a:p>
            <a:pPr marL="457200" lvl="1" indent="-27432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Take full advantage of PBI’s analytics features</a:t>
            </a:r>
          </a:p>
          <a:p>
            <a:endParaRPr lang="en-US" sz="400" dirty="0"/>
          </a:p>
          <a:p>
            <a:r>
              <a:rPr lang="en-US" dirty="0"/>
              <a:t>Only consider </a:t>
            </a:r>
            <a:r>
              <a:rPr lang="en-US" b="1" dirty="0"/>
              <a:t>DirectQuery</a:t>
            </a:r>
            <a:r>
              <a:rPr lang="en-US" dirty="0"/>
              <a:t> when:</a:t>
            </a:r>
          </a:p>
          <a:p>
            <a:endParaRPr lang="en-US" sz="100" dirty="0"/>
          </a:p>
          <a:p>
            <a:pPr marL="457200" lvl="1" indent="-27432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Data is changing frequently, and near ‘real-time’ reporting is needed</a:t>
            </a:r>
          </a:p>
          <a:p>
            <a:pPr marL="457200" lvl="1" indent="-27432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Handling very large dataset</a:t>
            </a:r>
          </a:p>
          <a:p>
            <a:pPr marL="457200" lvl="1" indent="-27432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Data sovereignty restrictions apply</a:t>
            </a:r>
          </a:p>
          <a:p>
            <a:pPr marL="457200" lvl="1" indent="-27432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The source is a multi dimensional source containing measures</a:t>
            </a:r>
          </a:p>
        </p:txBody>
      </p:sp>
    </p:spTree>
    <p:extLst>
      <p:ext uri="{BB962C8B-B14F-4D97-AF65-F5344CB8AC3E}">
        <p14:creationId xmlns:p14="http://schemas.microsoft.com/office/powerpoint/2010/main" val="3756893258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AF5B9353-FBFB-415B-82E4-6279A2324B84}"/>
              </a:ext>
            </a:extLst>
          </p:cNvPr>
          <p:cNvGrpSpPr/>
          <p:nvPr/>
        </p:nvGrpSpPr>
        <p:grpSpPr>
          <a:xfrm>
            <a:off x="1387957" y="1562427"/>
            <a:ext cx="9953142" cy="4297612"/>
            <a:chOff x="1387957" y="1562427"/>
            <a:chExt cx="9953142" cy="4297612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E28BF073-50A5-4A16-967C-5EDEF1614504}"/>
                </a:ext>
              </a:extLst>
            </p:cNvPr>
            <p:cNvSpPr/>
            <p:nvPr/>
          </p:nvSpPr>
          <p:spPr>
            <a:xfrm>
              <a:off x="1387958" y="1562427"/>
              <a:ext cx="4341936" cy="637872"/>
            </a:xfrm>
            <a:custGeom>
              <a:avLst/>
              <a:gdLst>
                <a:gd name="connsiteX0" fmla="*/ 0 w 3900981"/>
                <a:gd name="connsiteY0" fmla="*/ 106314 h 637872"/>
                <a:gd name="connsiteX1" fmla="*/ 106314 w 3900981"/>
                <a:gd name="connsiteY1" fmla="*/ 0 h 637872"/>
                <a:gd name="connsiteX2" fmla="*/ 3794667 w 3900981"/>
                <a:gd name="connsiteY2" fmla="*/ 0 h 637872"/>
                <a:gd name="connsiteX3" fmla="*/ 3900981 w 3900981"/>
                <a:gd name="connsiteY3" fmla="*/ 106314 h 637872"/>
                <a:gd name="connsiteX4" fmla="*/ 3900981 w 3900981"/>
                <a:gd name="connsiteY4" fmla="*/ 531558 h 637872"/>
                <a:gd name="connsiteX5" fmla="*/ 3794667 w 3900981"/>
                <a:gd name="connsiteY5" fmla="*/ 637872 h 637872"/>
                <a:gd name="connsiteX6" fmla="*/ 106314 w 3900981"/>
                <a:gd name="connsiteY6" fmla="*/ 637872 h 637872"/>
                <a:gd name="connsiteX7" fmla="*/ 0 w 3900981"/>
                <a:gd name="connsiteY7" fmla="*/ 531558 h 637872"/>
                <a:gd name="connsiteX8" fmla="*/ 0 w 3900981"/>
                <a:gd name="connsiteY8" fmla="*/ 106314 h 637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00981" h="637872">
                  <a:moveTo>
                    <a:pt x="0" y="106314"/>
                  </a:moveTo>
                  <a:cubicBezTo>
                    <a:pt x="0" y="47598"/>
                    <a:pt x="47598" y="0"/>
                    <a:pt x="106314" y="0"/>
                  </a:cubicBezTo>
                  <a:lnTo>
                    <a:pt x="3794667" y="0"/>
                  </a:lnTo>
                  <a:cubicBezTo>
                    <a:pt x="3853383" y="0"/>
                    <a:pt x="3900981" y="47598"/>
                    <a:pt x="3900981" y="106314"/>
                  </a:cubicBezTo>
                  <a:lnTo>
                    <a:pt x="3900981" y="531558"/>
                  </a:lnTo>
                  <a:cubicBezTo>
                    <a:pt x="3900981" y="590274"/>
                    <a:pt x="3853383" y="637872"/>
                    <a:pt x="3794667" y="637872"/>
                  </a:cubicBezTo>
                  <a:lnTo>
                    <a:pt x="106314" y="637872"/>
                  </a:lnTo>
                  <a:cubicBezTo>
                    <a:pt x="47598" y="637872"/>
                    <a:pt x="0" y="590274"/>
                    <a:pt x="0" y="531558"/>
                  </a:cubicBezTo>
                  <a:lnTo>
                    <a:pt x="0" y="106314"/>
                  </a:lnTo>
                  <a:close/>
                </a:path>
              </a:pathLst>
            </a:cu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spcFirstLastPara="0" vert="horz" wrap="square" lIns="201826" tIns="128674" rIns="201826" bIns="128674" numCol="1" spcCol="1270" anchor="ctr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mport Mode</a:t>
              </a: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7A47F09-865C-4DF1-B2D4-193BC9D34A12}"/>
                </a:ext>
              </a:extLst>
            </p:cNvPr>
            <p:cNvSpPr/>
            <p:nvPr/>
          </p:nvSpPr>
          <p:spPr>
            <a:xfrm>
              <a:off x="1387957" y="2346961"/>
              <a:ext cx="4341937" cy="3444282"/>
            </a:xfrm>
            <a:custGeom>
              <a:avLst/>
              <a:gdLst>
                <a:gd name="connsiteX0" fmla="*/ 0 w 4341937"/>
                <a:gd name="connsiteY0" fmla="*/ 0 h 3330477"/>
                <a:gd name="connsiteX1" fmla="*/ 4341937 w 4341937"/>
                <a:gd name="connsiteY1" fmla="*/ 0 h 3330477"/>
                <a:gd name="connsiteX2" fmla="*/ 4341937 w 4341937"/>
                <a:gd name="connsiteY2" fmla="*/ 3330477 h 3330477"/>
                <a:gd name="connsiteX3" fmla="*/ 0 w 4341937"/>
                <a:gd name="connsiteY3" fmla="*/ 3330477 h 3330477"/>
                <a:gd name="connsiteX4" fmla="*/ 0 w 4341937"/>
                <a:gd name="connsiteY4" fmla="*/ 0 h 333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41937" h="3330477">
                  <a:moveTo>
                    <a:pt x="0" y="0"/>
                  </a:moveTo>
                  <a:lnTo>
                    <a:pt x="4341937" y="0"/>
                  </a:lnTo>
                  <a:lnTo>
                    <a:pt x="4341937" y="3330477"/>
                  </a:lnTo>
                  <a:lnTo>
                    <a:pt x="0" y="33304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5000"/>
                <a:alpha val="90000"/>
              </a:schemeClr>
            </a:solidFill>
          </p:spPr>
          <p:style>
            <a:lnRef idx="2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82880" tIns="69342" rIns="92456" bIns="104013" numCol="1" spcCol="1270" anchor="t" anchorCtr="0">
              <a:noAutofit/>
            </a:bodyPr>
            <a:lstStyle/>
            <a:p>
              <a:pPr marL="285750" lvl="1" indent="-285750" algn="l" defTabSz="57785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kern="12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ll-Featured Power BI Experience</a:t>
              </a:r>
            </a:p>
            <a:p>
              <a:pPr marL="285750" lvl="1" indent="-285750" algn="l" defTabSz="57785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kern="12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an include multiple sources per model</a:t>
              </a:r>
            </a:p>
            <a:p>
              <a:pPr marL="285750" lvl="1" indent="-285750" algn="l" defTabSz="57785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kern="12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upports many types of data sources</a:t>
              </a:r>
            </a:p>
            <a:p>
              <a:pPr marL="285750" lvl="1" indent="-285750" algn="l" defTabSz="57785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kern="12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n-Memory column store typical offers 10x compression</a:t>
              </a:r>
            </a:p>
            <a:p>
              <a:pPr marL="285750" lvl="1" indent="-285750" algn="l" defTabSz="57785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kern="12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High performance with less tuning</a:t>
              </a:r>
            </a:p>
            <a:p>
              <a:pPr marL="285750" lvl="1" indent="-285750" algn="l" defTabSz="57785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US" sz="1400" kern="1200" dirty="0"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  <a:p>
              <a:pPr marL="285750" lvl="1" indent="-285750" algn="l" defTabSz="57785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u="none" kern="12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requent data changes can require </a:t>
              </a:r>
              <a:r>
                <a:rPr lang="en-US" sz="1400" kern="12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more frequent refresh intervals and large data transfers</a:t>
              </a:r>
            </a:p>
            <a:p>
              <a:pPr marL="285750" lvl="1" indent="-285750" algn="l" defTabSz="57785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kern="12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ataset limitations</a:t>
              </a:r>
            </a:p>
            <a:p>
              <a:pPr marL="742950" lvl="2" indent="-285750" defTabSz="577850">
                <a:spcBef>
                  <a:spcPct val="0"/>
                </a:spcBef>
                <a:buSzPct val="80000"/>
                <a:buFont typeface="Courier New" panose="02070309020205020404" pitchFamily="49" charset="0"/>
                <a:buChar char="o"/>
              </a:pPr>
              <a:r>
                <a:rPr lang="en-US" sz="1200" kern="12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1 GB dataset limit </a:t>
              </a:r>
            </a:p>
            <a:p>
              <a:pPr marL="742950" lvl="2" indent="-285750" defTabSz="577850">
                <a:spcBef>
                  <a:spcPct val="0"/>
                </a:spcBef>
                <a:buSzPct val="80000"/>
                <a:buFont typeface="Courier New" panose="02070309020205020404" pitchFamily="49" charset="0"/>
                <a:buChar char="o"/>
              </a:pPr>
              <a:r>
                <a:rPr lang="en-US" sz="1200" kern="12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100 GB with Premium per User</a:t>
              </a:r>
            </a:p>
            <a:p>
              <a:pPr marL="742950" lvl="2" indent="-285750" defTabSz="577850">
                <a:spcBef>
                  <a:spcPct val="0"/>
                </a:spcBef>
                <a:buSzPct val="80000"/>
                <a:buFont typeface="Courier New" panose="02070309020205020404" pitchFamily="49" charset="0"/>
                <a:buChar char="o"/>
              </a:pPr>
              <a:r>
                <a:rPr lang="en-US" sz="1200" kern="12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400 GB with Premium Capacity</a:t>
              </a:r>
            </a:p>
            <a:p>
              <a:pPr marL="285750" lvl="1" indent="-285750" algn="l" defTabSz="57785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US" sz="1400" kern="1200" dirty="0"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C9BE4E0-AEFF-4944-85AF-D6C3B150719B}"/>
                </a:ext>
              </a:extLst>
            </p:cNvPr>
            <p:cNvSpPr/>
            <p:nvPr/>
          </p:nvSpPr>
          <p:spPr>
            <a:xfrm>
              <a:off x="6360842" y="1562427"/>
              <a:ext cx="4914335" cy="629657"/>
            </a:xfrm>
            <a:custGeom>
              <a:avLst/>
              <a:gdLst>
                <a:gd name="connsiteX0" fmla="*/ 0 w 4914335"/>
                <a:gd name="connsiteY0" fmla="*/ 104945 h 629657"/>
                <a:gd name="connsiteX1" fmla="*/ 104945 w 4914335"/>
                <a:gd name="connsiteY1" fmla="*/ 0 h 629657"/>
                <a:gd name="connsiteX2" fmla="*/ 4809390 w 4914335"/>
                <a:gd name="connsiteY2" fmla="*/ 0 h 629657"/>
                <a:gd name="connsiteX3" fmla="*/ 4914335 w 4914335"/>
                <a:gd name="connsiteY3" fmla="*/ 104945 h 629657"/>
                <a:gd name="connsiteX4" fmla="*/ 4914335 w 4914335"/>
                <a:gd name="connsiteY4" fmla="*/ 524712 h 629657"/>
                <a:gd name="connsiteX5" fmla="*/ 4809390 w 4914335"/>
                <a:gd name="connsiteY5" fmla="*/ 629657 h 629657"/>
                <a:gd name="connsiteX6" fmla="*/ 104945 w 4914335"/>
                <a:gd name="connsiteY6" fmla="*/ 629657 h 629657"/>
                <a:gd name="connsiteX7" fmla="*/ 0 w 4914335"/>
                <a:gd name="connsiteY7" fmla="*/ 524712 h 629657"/>
                <a:gd name="connsiteX8" fmla="*/ 0 w 4914335"/>
                <a:gd name="connsiteY8" fmla="*/ 104945 h 629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14335" h="629657">
                  <a:moveTo>
                    <a:pt x="0" y="104945"/>
                  </a:moveTo>
                  <a:cubicBezTo>
                    <a:pt x="0" y="46985"/>
                    <a:pt x="46985" y="0"/>
                    <a:pt x="104945" y="0"/>
                  </a:cubicBezTo>
                  <a:lnTo>
                    <a:pt x="4809390" y="0"/>
                  </a:lnTo>
                  <a:cubicBezTo>
                    <a:pt x="4867350" y="0"/>
                    <a:pt x="4914335" y="46985"/>
                    <a:pt x="4914335" y="104945"/>
                  </a:cubicBezTo>
                  <a:lnTo>
                    <a:pt x="4914335" y="524712"/>
                  </a:lnTo>
                  <a:cubicBezTo>
                    <a:pt x="4914335" y="582672"/>
                    <a:pt x="4867350" y="629657"/>
                    <a:pt x="4809390" y="629657"/>
                  </a:cubicBezTo>
                  <a:lnTo>
                    <a:pt x="104945" y="629657"/>
                  </a:lnTo>
                  <a:cubicBezTo>
                    <a:pt x="46985" y="629657"/>
                    <a:pt x="0" y="582672"/>
                    <a:pt x="0" y="524712"/>
                  </a:cubicBezTo>
                  <a:lnTo>
                    <a:pt x="0" y="104945"/>
                  </a:lnTo>
                  <a:close/>
                </a:path>
              </a:pathLst>
            </a:cu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spcFirstLastPara="0" vert="horz" wrap="square" lIns="201425" tIns="128273" rIns="201425" bIns="128273" numCol="1" spcCol="1270" anchor="ctr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irectQuery Mode</a:t>
              </a: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B01D758-4A86-4834-B68F-C8A875510958}"/>
                </a:ext>
              </a:extLst>
            </p:cNvPr>
            <p:cNvSpPr/>
            <p:nvPr/>
          </p:nvSpPr>
          <p:spPr>
            <a:xfrm>
              <a:off x="6360842" y="2346961"/>
              <a:ext cx="4980257" cy="3513078"/>
            </a:xfrm>
            <a:custGeom>
              <a:avLst/>
              <a:gdLst>
                <a:gd name="connsiteX0" fmla="*/ 0 w 4980257"/>
                <a:gd name="connsiteY0" fmla="*/ 0 h 3503446"/>
                <a:gd name="connsiteX1" fmla="*/ 4980257 w 4980257"/>
                <a:gd name="connsiteY1" fmla="*/ 0 h 3503446"/>
                <a:gd name="connsiteX2" fmla="*/ 4980257 w 4980257"/>
                <a:gd name="connsiteY2" fmla="*/ 3503446 h 3503446"/>
                <a:gd name="connsiteX3" fmla="*/ 0 w 4980257"/>
                <a:gd name="connsiteY3" fmla="*/ 3503446 h 3503446"/>
                <a:gd name="connsiteX4" fmla="*/ 0 w 4980257"/>
                <a:gd name="connsiteY4" fmla="*/ 0 h 3503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0257" h="3503446">
                  <a:moveTo>
                    <a:pt x="0" y="0"/>
                  </a:moveTo>
                  <a:lnTo>
                    <a:pt x="4980257" y="0"/>
                  </a:lnTo>
                  <a:lnTo>
                    <a:pt x="4980257" y="3503446"/>
                  </a:lnTo>
                  <a:lnTo>
                    <a:pt x="0" y="35034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5000"/>
                <a:alpha val="90000"/>
              </a:schemeClr>
            </a:solidFill>
          </p:spPr>
          <p:style>
            <a:lnRef idx="2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82880" tIns="69342" rIns="92456" bIns="104013" numCol="1" spcCol="1270" anchor="t" anchorCtr="0">
              <a:noAutofit/>
            </a:bodyPr>
            <a:lstStyle/>
            <a:p>
              <a:pPr marL="285750" lvl="1" indent="-285750" algn="l" defTabSz="57785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kern="12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re-aggregation of data supports visualizations over very large datasets</a:t>
              </a:r>
            </a:p>
            <a:p>
              <a:pPr marL="285750" lvl="1" indent="-285750" algn="l" defTabSz="57785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kern="12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lways working with current data; requires no refresh</a:t>
              </a:r>
            </a:p>
            <a:p>
              <a:pPr marL="285750" lvl="1" indent="-285750" algn="l" defTabSz="57785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kern="12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Queries &amp; calculations leverage backend database capabilities</a:t>
              </a:r>
            </a:p>
            <a:p>
              <a:pPr marL="285750" lvl="1" indent="-285750" algn="l" defTabSz="57785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US" sz="1400" kern="1200" dirty="0"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  <a:p>
              <a:pPr marL="285750" lvl="1" indent="-285750" algn="l" defTabSz="57785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kern="12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ll tables must come from a single database</a:t>
              </a:r>
            </a:p>
            <a:p>
              <a:pPr marL="285750" lvl="1" indent="-285750" algn="l" defTabSz="57785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b="0" kern="12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ata transformation &amp; Modeling Limitations</a:t>
              </a:r>
            </a:p>
            <a:p>
              <a:pPr marL="285750" lvl="1" indent="-285750" algn="l" defTabSz="57785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kern="12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erformance Impact: Data source is queried for every interaction </a:t>
              </a:r>
              <a:r>
                <a:rPr lang="en-US" sz="1400" kern="1200" dirty="0">
                  <a:latin typeface="Segoe UI Semilight" panose="020B0402040204020203" pitchFamily="34" charset="0"/>
                  <a:cs typeface="Segoe UI Semilight" panose="020B0402040204020203" pitchFamily="34" charset="0"/>
                  <a:sym typeface="Wingdings" panose="05000000000000000000" pitchFamily="2" charset="2"/>
                </a:rPr>
                <a:t> </a:t>
              </a:r>
              <a:r>
                <a:rPr lang="en-US" sz="1400" kern="12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equires frequent &amp; large data transfers </a:t>
              </a:r>
            </a:p>
            <a:p>
              <a:pPr marL="285750" lvl="1" indent="-285750" algn="l" defTabSz="57785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kern="12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Query results limited to 1 million row of returned data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1F80424C-CD8D-410B-9C6F-D38ACE4ADEC4}"/>
              </a:ext>
            </a:extLst>
          </p:cNvPr>
          <p:cNvSpPr txBox="1"/>
          <p:nvPr/>
        </p:nvSpPr>
        <p:spPr>
          <a:xfrm rot="16200000">
            <a:off x="5568263" y="2904976"/>
            <a:ext cx="9289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PRO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48E2736-7477-449E-B89E-DB9698622FAE}"/>
              </a:ext>
            </a:extLst>
          </p:cNvPr>
          <p:cNvSpPr txBox="1"/>
          <p:nvPr/>
        </p:nvSpPr>
        <p:spPr>
          <a:xfrm rot="16200000">
            <a:off x="5589088" y="4437458"/>
            <a:ext cx="9289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CO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EA743C0-F91F-4C06-B4B3-28DB4A0F9BDE}"/>
              </a:ext>
            </a:extLst>
          </p:cNvPr>
          <p:cNvSpPr txBox="1"/>
          <p:nvPr/>
        </p:nvSpPr>
        <p:spPr>
          <a:xfrm rot="16200000">
            <a:off x="571080" y="2906848"/>
            <a:ext cx="9289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PRO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FDC159-3E84-4F9F-A2DA-DFDA75DD7BD4}"/>
              </a:ext>
            </a:extLst>
          </p:cNvPr>
          <p:cNvSpPr txBox="1"/>
          <p:nvPr/>
        </p:nvSpPr>
        <p:spPr>
          <a:xfrm rot="16200000">
            <a:off x="571080" y="4356910"/>
            <a:ext cx="9289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CONS</a:t>
            </a:r>
          </a:p>
        </p:txBody>
      </p:sp>
      <p:sp>
        <p:nvSpPr>
          <p:cNvPr id="17" name="Title 4">
            <a:extLst>
              <a:ext uri="{FF2B5EF4-FFF2-40B4-BE49-F238E27FC236}">
                <a16:creationId xmlns:a16="http://schemas.microsoft.com/office/drawing/2014/main" id="{7AF9B946-836E-6C5A-365B-C328F301F5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756" y="608400"/>
            <a:ext cx="10339200" cy="412454"/>
          </a:xfrm>
        </p:spPr>
        <p:txBody>
          <a:bodyPr/>
          <a:lstStyle/>
          <a:p>
            <a:r>
              <a:rPr lang="en-US" sz="3200" cap="none" dirty="0">
                <a:latin typeface="+mn-lt"/>
              </a:rPr>
              <a:t>Data Import vs </a:t>
            </a:r>
            <a:r>
              <a:rPr lang="en-US" sz="3200" cap="none" dirty="0" err="1">
                <a:latin typeface="+mn-lt"/>
              </a:rPr>
              <a:t>DirectQuery</a:t>
            </a:r>
            <a:r>
              <a:rPr lang="en-US" sz="3200" cap="none" dirty="0">
                <a:latin typeface="+mn-lt"/>
              </a:rPr>
              <a:t> Storage Mode</a:t>
            </a:r>
            <a:endParaRPr lang="en-US" sz="3200" cap="none" baseline="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29405703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4">
            <a:extLst>
              <a:ext uri="{FF2B5EF4-FFF2-40B4-BE49-F238E27FC236}">
                <a16:creationId xmlns:a16="http://schemas.microsoft.com/office/drawing/2014/main" id="{4D2F0674-E16C-B1E1-5514-88E4D38891F3}"/>
              </a:ext>
            </a:extLst>
          </p:cNvPr>
          <p:cNvSpPr txBox="1">
            <a:spLocks/>
          </p:cNvSpPr>
          <p:nvPr/>
        </p:nvSpPr>
        <p:spPr>
          <a:xfrm>
            <a:off x="390976" y="326229"/>
            <a:ext cx="10339200" cy="412454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 sz="3200" cap="none" dirty="0">
                <a:latin typeface="+mn-lt"/>
              </a:rPr>
              <a:t>Data Import vs </a:t>
            </a:r>
            <a:r>
              <a:rPr lang="en-US" sz="3200" cap="none" dirty="0" err="1">
                <a:latin typeface="+mn-lt"/>
              </a:rPr>
              <a:t>DirectQuery</a:t>
            </a:r>
            <a:r>
              <a:rPr lang="en-US" sz="3200" cap="none" dirty="0">
                <a:latin typeface="+mn-lt"/>
              </a:rPr>
              <a:t> Storage Mod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F6C8B3-6F5E-4646-AB38-2309E5637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2228" y="254745"/>
            <a:ext cx="10270415" cy="998344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Data Import vs DirectQuery Modes</a:t>
            </a:r>
          </a:p>
        </p:txBody>
      </p:sp>
      <p:pic>
        <p:nvPicPr>
          <p:cNvPr id="5" name="Picture 4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271E5783-A47E-4847-A78E-1828FA6DF877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50000"/>
          </a:blip>
          <a:stretch>
            <a:fillRect/>
          </a:stretch>
        </p:blipFill>
        <p:spPr>
          <a:xfrm>
            <a:off x="114191" y="103831"/>
            <a:ext cx="1428750" cy="857250"/>
          </a:xfrm>
          <a:prstGeom prst="rect">
            <a:avLst/>
          </a:prstGeom>
        </p:spPr>
      </p:pic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989F54BC-9E90-4293-B1D0-2E9E1AB48C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2770954"/>
              </p:ext>
            </p:extLst>
          </p:nvPr>
        </p:nvGraphicFramePr>
        <p:xfrm>
          <a:off x="183968" y="254745"/>
          <a:ext cx="11824063" cy="5957063"/>
        </p:xfrm>
        <a:graphic>
          <a:graphicData uri="http://schemas.openxmlformats.org/drawingml/2006/table">
            <a:tbl>
              <a:tblPr firstRow="1" firstCol="1" bandRow="1">
                <a:tableStyleId>{21E4AEA4-8DFA-4A89-87EB-49C32662AFE0}</a:tableStyleId>
              </a:tblPr>
              <a:tblGrid>
                <a:gridCol w="2146663">
                  <a:extLst>
                    <a:ext uri="{9D8B030D-6E8A-4147-A177-3AD203B41FA5}">
                      <a16:colId xmlns:a16="http://schemas.microsoft.com/office/drawing/2014/main" val="123503513"/>
                    </a:ext>
                  </a:extLst>
                </a:gridCol>
                <a:gridCol w="4358640">
                  <a:extLst>
                    <a:ext uri="{9D8B030D-6E8A-4147-A177-3AD203B41FA5}">
                      <a16:colId xmlns:a16="http://schemas.microsoft.com/office/drawing/2014/main" val="984209042"/>
                    </a:ext>
                  </a:extLst>
                </a:gridCol>
                <a:gridCol w="5318760">
                  <a:extLst>
                    <a:ext uri="{9D8B030D-6E8A-4147-A177-3AD203B41FA5}">
                      <a16:colId xmlns:a16="http://schemas.microsoft.com/office/drawing/2014/main" val="3835180992"/>
                    </a:ext>
                  </a:extLst>
                </a:gridCol>
              </a:tblGrid>
              <a:tr h="464069">
                <a:tc>
                  <a:txBody>
                    <a:bodyPr/>
                    <a:lstStyle/>
                    <a:p>
                      <a:pPr marL="0" algn="l" defTabSz="914367" rtl="0" eaLnBrk="1" latinLnBrk="0" hangingPunct="1"/>
                      <a:endParaRPr lang="en-US" sz="18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617" marR="89617" marT="44808" marB="448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kern="1200" dirty="0"/>
                        <a:t>Import Mode</a:t>
                      </a:r>
                      <a:endParaRPr lang="en-US" sz="20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89617" marR="89617" marT="44808" marB="448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kern="1200" dirty="0"/>
                        <a:t>DirectQuery Mode</a:t>
                      </a:r>
                      <a:endParaRPr lang="en-US" sz="20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89617" marR="89617" marT="44808" marB="44808"/>
                </a:tc>
                <a:extLst>
                  <a:ext uri="{0D108BD9-81ED-4DB2-BD59-A6C34878D82A}">
                    <a16:rowId xmlns:a16="http://schemas.microsoft.com/office/drawing/2014/main" val="72075556"/>
                  </a:ext>
                </a:extLst>
              </a:tr>
              <a:tr h="1126534">
                <a:tc>
                  <a:txBody>
                    <a:bodyPr/>
                    <a:lstStyle/>
                    <a:p>
                      <a:pPr algn="l"/>
                      <a:r>
                        <a:rPr lang="en-US" sz="1500" b="0" dirty="0"/>
                        <a:t>Overview</a:t>
                      </a:r>
                      <a:endParaRPr lang="en-US" sz="1500" b="0" dirty="0">
                        <a:solidFill>
                          <a:schemeClr val="tx2"/>
                        </a:solidFill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89617" marR="89617" marT="91440" marB="91440"/>
                </a:tc>
                <a:tc>
                  <a:txBody>
                    <a:bodyPr/>
                    <a:lstStyle/>
                    <a:p>
                      <a:pPr marL="117475" indent="-11747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Default and Preferred mode to leverage all PBI features</a:t>
                      </a:r>
                    </a:p>
                    <a:p>
                      <a:pPr marL="117475" indent="-11747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Data imported.  Data then resides in the cloud </a:t>
                      </a:r>
                    </a:p>
                    <a:p>
                      <a:pPr marL="117475" indent="-11747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Full ETL capabilities</a:t>
                      </a:r>
                    </a:p>
                    <a:p>
                      <a:pPr marL="117475" marR="0" lvl="0" indent="-1174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kern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In-Memory data &amp; calculations</a:t>
                      </a:r>
                    </a:p>
                    <a:p>
                      <a:pPr marL="117475" marR="0" lvl="0" indent="-1174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kern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Data must be refreshed</a:t>
                      </a:r>
                      <a:endParaRPr lang="en-US" sz="13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 marL="89617" marR="89617" marT="91440" marB="91440"/>
                </a:tc>
                <a:tc>
                  <a:txBody>
                    <a:bodyPr/>
                    <a:lstStyle/>
                    <a:p>
                      <a:pPr marL="117475" marR="0" lvl="0" indent="-1174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Used for very large, frequently changing data with access-restrictions</a:t>
                      </a:r>
                    </a:p>
                    <a:p>
                      <a:pPr marL="117475" marR="0" lvl="0" indent="-1174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No data imported. </a:t>
                      </a:r>
                      <a:r>
                        <a:rPr lang="en-US" sz="1300" kern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Data is always on-premises.</a:t>
                      </a:r>
                      <a:endParaRPr lang="en-US" sz="13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  <a:p>
                      <a:pPr marL="117475" indent="-11747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Queries sent to data source and triggered from Report visuals</a:t>
                      </a:r>
                    </a:p>
                    <a:p>
                      <a:pPr marL="117475" indent="-11747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Near real-time data. No refresh</a:t>
                      </a:r>
                    </a:p>
                  </a:txBody>
                  <a:tcPr marL="89617" marR="89617" marT="91440" marB="91440"/>
                </a:tc>
                <a:extLst>
                  <a:ext uri="{0D108BD9-81ED-4DB2-BD59-A6C34878D82A}">
                    <a16:rowId xmlns:a16="http://schemas.microsoft.com/office/drawing/2014/main" val="3461929723"/>
                  </a:ext>
                </a:extLst>
              </a:tr>
              <a:tr h="346490">
                <a:tc>
                  <a:txBody>
                    <a:bodyPr/>
                    <a:lstStyle/>
                    <a:p>
                      <a:pPr algn="l"/>
                      <a:r>
                        <a:rPr lang="en-US" sz="1500" b="0" dirty="0"/>
                        <a:t>Supported Sources</a:t>
                      </a:r>
                      <a:endParaRPr lang="en-US" sz="1500" b="0" dirty="0">
                        <a:solidFill>
                          <a:schemeClr val="tx2"/>
                        </a:solidFill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89617" marR="89617" marT="91440" marB="91440"/>
                </a:tc>
                <a:tc>
                  <a:txBody>
                    <a:bodyPr/>
                    <a:lstStyle/>
                    <a:p>
                      <a:pPr marL="117475" indent="-11747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All Data Sources and Transformations are supported.</a:t>
                      </a:r>
                    </a:p>
                    <a:p>
                      <a:pPr marL="117475" indent="-11747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Multiple data sources are supported.</a:t>
                      </a:r>
                      <a:endParaRPr lang="en-US" sz="1300" dirty="0">
                        <a:solidFill>
                          <a:schemeClr val="tx1"/>
                        </a:solidFill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 marL="89617" marR="89617" marT="91440" marB="91440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3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More limited data sources</a:t>
                      </a:r>
                      <a:endParaRPr lang="en-US" sz="1300" dirty="0">
                        <a:solidFill>
                          <a:schemeClr val="tx1"/>
                        </a:solidFill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 marL="89617" marR="89617" marT="91440" marB="91440"/>
                </a:tc>
                <a:extLst>
                  <a:ext uri="{0D108BD9-81ED-4DB2-BD59-A6C34878D82A}">
                    <a16:rowId xmlns:a16="http://schemas.microsoft.com/office/drawing/2014/main" val="637972733"/>
                  </a:ext>
                </a:extLst>
              </a:tr>
              <a:tr h="337076">
                <a:tc>
                  <a:txBody>
                    <a:bodyPr/>
                    <a:lstStyle/>
                    <a:p>
                      <a:pPr algn="l"/>
                      <a:r>
                        <a:rPr lang="en-US" sz="1500" b="0" dirty="0"/>
                        <a:t>Max data sources </a:t>
                      </a:r>
                    </a:p>
                  </a:txBody>
                  <a:tcPr marL="89617" marR="89617" marT="91440" marB="91440"/>
                </a:tc>
                <a:tc>
                  <a:txBody>
                    <a:bodyPr/>
                    <a:lstStyle/>
                    <a:p>
                      <a:pPr marL="117475" indent="-11747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Unlimited. </a:t>
                      </a:r>
                      <a:r>
                        <a:rPr lang="en-US" sz="1300" dirty="0">
                          <a:solidFill>
                            <a:schemeClr val="tx1"/>
                          </a:solidFill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Ad Hoc sources readily integrated</a:t>
                      </a:r>
                    </a:p>
                  </a:txBody>
                  <a:tcPr marL="89617" marR="89617" marT="91440" marB="91440"/>
                </a:tc>
                <a:tc>
                  <a:txBody>
                    <a:bodyPr/>
                    <a:lstStyle/>
                    <a:p>
                      <a:pPr marL="117475" indent="-11747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One.  Underlying data source will need to include all data necessary</a:t>
                      </a:r>
                    </a:p>
                  </a:txBody>
                  <a:tcPr marL="89617" marR="89617" marT="91440" marB="91440"/>
                </a:tc>
                <a:extLst>
                  <a:ext uri="{0D108BD9-81ED-4DB2-BD59-A6C34878D82A}">
                    <a16:rowId xmlns:a16="http://schemas.microsoft.com/office/drawing/2014/main" val="1856105198"/>
                  </a:ext>
                </a:extLst>
              </a:tr>
              <a:tr h="331301">
                <a:tc>
                  <a:txBody>
                    <a:bodyPr/>
                    <a:lstStyle/>
                    <a:p>
                      <a:pPr algn="l"/>
                      <a:r>
                        <a:rPr lang="en-US" sz="1500" b="0" dirty="0"/>
                        <a:t>Data Transformations</a:t>
                      </a:r>
                      <a:endParaRPr lang="en-US" sz="1500" b="0" dirty="0">
                        <a:solidFill>
                          <a:schemeClr val="tx2"/>
                        </a:solidFill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89617" marR="89617" marT="91440" marB="91440"/>
                </a:tc>
                <a:tc>
                  <a:txBody>
                    <a:bodyPr/>
                    <a:lstStyle/>
                    <a:p>
                      <a:pPr marL="117475" indent="-11747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All transformations (100’s)</a:t>
                      </a:r>
                      <a:endParaRPr lang="en-US" sz="1300" dirty="0">
                        <a:solidFill>
                          <a:schemeClr val="tx1"/>
                        </a:solidFill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 marL="89617" marR="89617" marT="91440" marB="91440"/>
                </a:tc>
                <a:tc>
                  <a:txBody>
                    <a:bodyPr/>
                    <a:lstStyle/>
                    <a:p>
                      <a:pPr marL="117475" indent="-11747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Partial support (varies by data source)</a:t>
                      </a:r>
                      <a:endParaRPr lang="en-US" sz="1300" dirty="0">
                        <a:solidFill>
                          <a:schemeClr val="tx1"/>
                        </a:solidFill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 marL="89617" marR="89617" marT="91440" marB="91440"/>
                </a:tc>
                <a:extLst>
                  <a:ext uri="{0D108BD9-81ED-4DB2-BD59-A6C34878D82A}">
                    <a16:rowId xmlns:a16="http://schemas.microsoft.com/office/drawing/2014/main" val="34648503"/>
                  </a:ext>
                </a:extLst>
              </a:tr>
              <a:tr h="53989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dirty="0"/>
                        <a:t>Dataset Limitations</a:t>
                      </a:r>
                      <a:endParaRPr lang="en-US" sz="1500" b="0" dirty="0">
                        <a:solidFill>
                          <a:schemeClr val="tx2"/>
                        </a:solidFill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89617" marR="89617" marT="91440" marB="91440"/>
                </a:tc>
                <a:tc>
                  <a:txBody>
                    <a:bodyPr/>
                    <a:lstStyle/>
                    <a:p>
                      <a:pPr marL="117475" indent="-11747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1 GB dataset limit </a:t>
                      </a:r>
                    </a:p>
                    <a:p>
                      <a:pPr marL="117475" indent="-11747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kern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100 GB with Premium per User</a:t>
                      </a:r>
                    </a:p>
                    <a:p>
                      <a:pPr marL="117475" marR="0" lvl="0" indent="-117475" algn="l" defTabSz="9143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kern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400 GB with Premium Capacity</a:t>
                      </a:r>
                    </a:p>
                  </a:txBody>
                  <a:tcPr marL="89617" marR="89617" marT="91440" marB="91440"/>
                </a:tc>
                <a:tc>
                  <a:txBody>
                    <a:bodyPr/>
                    <a:lstStyle/>
                    <a:p>
                      <a:pPr marL="117475" marR="0" lvl="0" indent="-1174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No limit to the amount of data that can be stored in on-premises or cloud database.</a:t>
                      </a:r>
                    </a:p>
                    <a:p>
                      <a:pPr marL="117475" marR="0" lvl="0" indent="-1174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Query results limited to 1 million row of returned data</a:t>
                      </a:r>
                    </a:p>
                  </a:txBody>
                  <a:tcPr marL="89617" marR="89617" marT="91440" marB="91440"/>
                </a:tc>
                <a:extLst>
                  <a:ext uri="{0D108BD9-81ED-4DB2-BD59-A6C34878D82A}">
                    <a16:rowId xmlns:a16="http://schemas.microsoft.com/office/drawing/2014/main" val="4150969545"/>
                  </a:ext>
                </a:extLst>
              </a:tr>
              <a:tr h="524400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500" b="0" kern="1200" dirty="0"/>
                        <a:t>Refresh frequency</a:t>
                      </a:r>
                      <a:endParaRPr lang="en-US" sz="1500" b="0" kern="1200" dirty="0">
                        <a:solidFill>
                          <a:srgbClr val="58585A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642" marR="89642" marT="44821" marB="44821"/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400" kern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Scheduled – hourly (8x a day)</a:t>
                      </a:r>
                    </a:p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400" kern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Premium allows for 48x</a:t>
                      </a:r>
                      <a:r>
                        <a:rPr lang="en-US" sz="1400" kern="1200" baseline="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 a day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89642" marR="89642" marT="44821" marB="44821"/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400" kern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Real-time queries </a:t>
                      </a:r>
                    </a:p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Dashboard refresh can be scheduled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89642" marR="89642" marT="44821" marB="44821"/>
                </a:tc>
                <a:extLst>
                  <a:ext uri="{0D108BD9-81ED-4DB2-BD59-A6C34878D82A}">
                    <a16:rowId xmlns:a16="http://schemas.microsoft.com/office/drawing/2014/main" val="498668127"/>
                  </a:ext>
                </a:extLst>
              </a:tr>
              <a:tr h="432665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500" b="0" kern="1200" dirty="0"/>
                        <a:t>Refresh Performance</a:t>
                      </a:r>
                      <a:endParaRPr lang="en-US" sz="1500" b="0" kern="1200" dirty="0">
                        <a:solidFill>
                          <a:srgbClr val="58585A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642" marR="89642" marT="44821" marB="44821"/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400" kern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No noticeable delay since data is already cached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89642" marR="89642" marT="44821" marB="44821"/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400" kern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Depends </a:t>
                      </a:r>
                      <a:r>
                        <a:rPr lang="en-US" sz="1400" kern="1200" baseline="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data source as queries are executed in real-time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89642" marR="89642" marT="44821" marB="44821"/>
                </a:tc>
                <a:extLst>
                  <a:ext uri="{0D108BD9-81ED-4DB2-BD59-A6C34878D82A}">
                    <a16:rowId xmlns:a16="http://schemas.microsoft.com/office/drawing/2014/main" val="987157065"/>
                  </a:ext>
                </a:extLst>
              </a:tr>
              <a:tr h="357226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500" b="0" kern="1200" baseline="0" dirty="0"/>
                        <a:t>Security </a:t>
                      </a:r>
                      <a:endParaRPr lang="en-US" sz="15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642" marR="89642" marT="44821" marB="44821"/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400" kern="1200" dirty="0"/>
                        <a:t>Can create row-level security on Power BI dataset</a:t>
                      </a:r>
                      <a:endParaRPr lang="en-US" sz="1400" kern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 marL="89642" marR="89642" marT="44821" marB="44821"/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400" kern="1200" dirty="0"/>
                        <a:t>Can use DAX expressions and reuse on-prem row level security</a:t>
                      </a:r>
                      <a:endParaRPr lang="en-US" sz="1400" kern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 marL="89642" marR="89642" marT="44821" marB="44821"/>
                </a:tc>
                <a:extLst>
                  <a:ext uri="{0D108BD9-81ED-4DB2-BD59-A6C34878D82A}">
                    <a16:rowId xmlns:a16="http://schemas.microsoft.com/office/drawing/2014/main" val="3994961688"/>
                  </a:ext>
                </a:extLst>
              </a:tr>
              <a:tr h="825903">
                <a:tc>
                  <a:txBody>
                    <a:bodyPr/>
                    <a:lstStyle/>
                    <a:p>
                      <a:pPr algn="l"/>
                      <a:r>
                        <a:rPr lang="en-US" sz="1500" b="0" dirty="0"/>
                        <a:t>Modeling Capabilities</a:t>
                      </a:r>
                      <a:endParaRPr lang="en-US" sz="1500" b="0" dirty="0">
                        <a:solidFill>
                          <a:schemeClr val="tx2"/>
                        </a:solidFill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89617" marR="89617" marT="91440" marB="91440"/>
                </a:tc>
                <a:tc>
                  <a:txBody>
                    <a:bodyPr/>
                    <a:lstStyle/>
                    <a:p>
                      <a:pPr marL="117475" indent="-11747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Bi-directional Relationships/</a:t>
                      </a:r>
                      <a:r>
                        <a:rPr lang="en-US" sz="1300" dirty="0" err="1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Fltering</a:t>
                      </a:r>
                      <a:endParaRPr lang="en-US" sz="13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  <a:p>
                      <a:pPr marL="117475" indent="-11747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Calculated Columns &amp; DAX Tables</a:t>
                      </a:r>
                    </a:p>
                    <a:p>
                      <a:pPr marL="117475" indent="-11747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Hierarchies</a:t>
                      </a:r>
                      <a:endParaRPr lang="en-US" sz="1300" dirty="0">
                        <a:solidFill>
                          <a:schemeClr val="tx1"/>
                        </a:solidFill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 marL="89617" marR="89617" marT="91440" marB="91440"/>
                </a:tc>
                <a:tc>
                  <a:txBody>
                    <a:bodyPr/>
                    <a:lstStyle/>
                    <a:p>
                      <a:pPr marL="117475" indent="-11747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Only supports Filtering in a single direction</a:t>
                      </a:r>
                    </a:p>
                    <a:p>
                      <a:pPr marL="117475" indent="-11747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No DAX Tables</a:t>
                      </a:r>
                    </a:p>
                    <a:p>
                      <a:pPr marL="117475" indent="-11747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3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 marL="89617" marR="89617" marT="91440" marB="91440"/>
                </a:tc>
                <a:extLst>
                  <a:ext uri="{0D108BD9-81ED-4DB2-BD59-A6C34878D82A}">
                    <a16:rowId xmlns:a16="http://schemas.microsoft.com/office/drawing/2014/main" val="41917501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6984670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E1E01D56-0CD5-4638-836B-F57EB9AA5312}"/>
              </a:ext>
            </a:extLst>
          </p:cNvPr>
          <p:cNvSpPr txBox="1">
            <a:spLocks/>
          </p:cNvSpPr>
          <p:nvPr/>
        </p:nvSpPr>
        <p:spPr>
          <a:xfrm>
            <a:off x="9677400" y="6637020"/>
            <a:ext cx="2842260" cy="22098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defPPr>
              <a:defRPr lang="en-US"/>
            </a:defPPr>
            <a:lvl1pPr marL="0" algn="ctr" defTabSz="914367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1000" kern="1200" dirty="0" smtClean="0">
                <a:solidFill>
                  <a:srgbClr val="50505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© 2021 Microsoft All rights reserved.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1F9F411-4402-4D1E-8F8B-469987EF8C0C}"/>
              </a:ext>
            </a:extLst>
          </p:cNvPr>
          <p:cNvSpPr txBox="1"/>
          <p:nvPr/>
        </p:nvSpPr>
        <p:spPr>
          <a:xfrm>
            <a:off x="83820" y="6637020"/>
            <a:ext cx="2019300" cy="220980"/>
          </a:xfrm>
          <a:prstGeom prst="rect">
            <a:avLst/>
          </a:prstGeom>
          <a:solidFill>
            <a:schemeClr val="bg1"/>
          </a:solidFill>
        </p:spPr>
        <p:txBody>
          <a:bodyPr wrap="square" lIns="182880" tIns="146304" rIns="182880" bIns="146304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097AE7E-CEB3-47C2-BB0A-F874FA580697}"/>
              </a:ext>
            </a:extLst>
          </p:cNvPr>
          <p:cNvSpPr txBox="1"/>
          <p:nvPr/>
        </p:nvSpPr>
        <p:spPr>
          <a:xfrm>
            <a:off x="0" y="413504"/>
            <a:ext cx="1208567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Composite Mod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CA5D404-EB50-E246-6465-3407444D55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cap="none" baseline="0" dirty="0">
                <a:latin typeface="+mn-lt"/>
              </a:rPr>
              <a:t>Composite Mod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B365EB1-3B56-9AA1-2B83-B878CD36D278}"/>
              </a:ext>
            </a:extLst>
          </p:cNvPr>
          <p:cNvSpPr txBox="1"/>
          <p:nvPr/>
        </p:nvSpPr>
        <p:spPr>
          <a:xfrm>
            <a:off x="777766" y="1229818"/>
            <a:ext cx="9112383" cy="51090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The composite model’s capability in Power BI Desktop consists of three related features:</a:t>
            </a:r>
          </a:p>
          <a:p>
            <a:pPr>
              <a:spcBef>
                <a:spcPts val="1200"/>
              </a:spcBef>
            </a:pPr>
            <a:r>
              <a:rPr lang="en-US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Composite model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</a:p>
          <a:p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Allows report to have two or more data connections from different source groups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Combines data from one or more </a:t>
            </a:r>
            <a:r>
              <a:rPr lang="en-US" sz="16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irectQuery</a:t>
            </a: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 sourc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Combines data from </a:t>
            </a:r>
            <a:r>
              <a:rPr lang="en-US" sz="16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irectQuery</a:t>
            </a: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 sources and imported data</a:t>
            </a:r>
          </a:p>
          <a:p>
            <a:pPr>
              <a:spcBef>
                <a:spcPts val="1200"/>
              </a:spcBef>
            </a:pPr>
            <a:r>
              <a:rPr lang="en-US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Many-to-many relationships</a:t>
            </a:r>
          </a:p>
          <a:p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Allows many-to-many relationships between tables which removes requirements for unique values in tables (no more bridge table workaround)</a:t>
            </a:r>
          </a:p>
          <a:p>
            <a:pPr>
              <a:spcBef>
                <a:spcPts val="1200"/>
              </a:spcBef>
            </a:pPr>
            <a:r>
              <a:rPr lang="en-US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Storage mode</a:t>
            </a:r>
          </a:p>
          <a:p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Allows to include data stored under the 3 storage modes and helps improve performance and reduce back-end load by limiting the number of queries necessary</a:t>
            </a:r>
          </a:p>
          <a:p>
            <a:endParaRPr lang="en-US" sz="1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Import mode </a:t>
            </a: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which delivers extremely fast performance thanks to in-memory query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irectQuery</a:t>
            </a:r>
            <a:r>
              <a:rPr lang="en-US" sz="16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 mode </a:t>
            </a: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which retrieves data from the underlying data l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Dual mode </a:t>
            </a: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which determines the most efficient mode to use on a query-by-query basis.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Recommended for dim tables that might be queried with DQ fact tables from the same source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6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Hybrid fact tables </a:t>
            </a: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are made of both imported partitions and a </a:t>
            </a:r>
            <a:r>
              <a:rPr lang="en-US" sz="16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irectQuery</a:t>
            </a: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 partitions </a:t>
            </a:r>
          </a:p>
          <a:p>
            <a:endParaRPr lang="en-US" sz="1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931739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E1E01D56-0CD5-4638-836B-F57EB9AA5312}"/>
              </a:ext>
            </a:extLst>
          </p:cNvPr>
          <p:cNvSpPr txBox="1">
            <a:spLocks/>
          </p:cNvSpPr>
          <p:nvPr/>
        </p:nvSpPr>
        <p:spPr>
          <a:xfrm>
            <a:off x="9677400" y="6637020"/>
            <a:ext cx="2842260" cy="22098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defPPr>
              <a:defRPr lang="en-US"/>
            </a:defPPr>
            <a:lvl1pPr marL="0" algn="ctr" defTabSz="914367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1000" kern="1200" dirty="0" smtClean="0">
                <a:solidFill>
                  <a:srgbClr val="50505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© 2021 Microsoft All rights reserved.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1F9F411-4402-4D1E-8F8B-469987EF8C0C}"/>
              </a:ext>
            </a:extLst>
          </p:cNvPr>
          <p:cNvSpPr txBox="1"/>
          <p:nvPr/>
        </p:nvSpPr>
        <p:spPr>
          <a:xfrm>
            <a:off x="83820" y="6637020"/>
            <a:ext cx="2019300" cy="220980"/>
          </a:xfrm>
          <a:prstGeom prst="rect">
            <a:avLst/>
          </a:prstGeom>
          <a:solidFill>
            <a:schemeClr val="bg1"/>
          </a:solidFill>
        </p:spPr>
        <p:txBody>
          <a:bodyPr wrap="square" lIns="182880" tIns="146304" rIns="182880" bIns="146304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097AE7E-CEB3-47C2-BB0A-F874FA580697}"/>
              </a:ext>
            </a:extLst>
          </p:cNvPr>
          <p:cNvSpPr txBox="1"/>
          <p:nvPr/>
        </p:nvSpPr>
        <p:spPr>
          <a:xfrm>
            <a:off x="0" y="413504"/>
            <a:ext cx="1208567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Composite Mod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CA5D404-EB50-E246-6465-3407444D55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cap="none" baseline="0" dirty="0">
                <a:latin typeface="+mn-lt"/>
              </a:rPr>
              <a:t>Incremental Refres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B365EB1-3B56-9AA1-2B83-B878CD36D278}"/>
              </a:ext>
            </a:extLst>
          </p:cNvPr>
          <p:cNvSpPr txBox="1"/>
          <p:nvPr/>
        </p:nvSpPr>
        <p:spPr>
          <a:xfrm>
            <a:off x="843602" y="1215750"/>
            <a:ext cx="9836590" cy="22006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Incremental refresh dynamically partitions and separates data that needs to be refreshed frequently from data that can be refreshed less frequently.</a:t>
            </a:r>
          </a:p>
          <a:p>
            <a:endParaRPr lang="en-US" sz="1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Creates hybrid fact tables made of both imported partitions and a </a:t>
            </a:r>
            <a:r>
              <a:rPr lang="en-US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irectQuery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 partitions 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irectQuery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 partitions to access new, real-time or frequently changing data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Imported partitions to access static, historical and frequently used data </a:t>
            </a:r>
          </a:p>
          <a:p>
            <a:pPr lvl="1">
              <a:spcBef>
                <a:spcPts val="600"/>
              </a:spcBef>
            </a:pPr>
            <a:endParaRPr lang="en-US" sz="1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18F2A1-C8F5-9ED5-7FCB-F5395D3D4B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8345" y="3732862"/>
            <a:ext cx="6447601" cy="1611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20160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1F9F411-4402-4D1E-8F8B-469987EF8C0C}"/>
              </a:ext>
            </a:extLst>
          </p:cNvPr>
          <p:cNvSpPr txBox="1"/>
          <p:nvPr/>
        </p:nvSpPr>
        <p:spPr>
          <a:xfrm>
            <a:off x="83820" y="6637020"/>
            <a:ext cx="2019300" cy="220980"/>
          </a:xfrm>
          <a:prstGeom prst="rect">
            <a:avLst/>
          </a:prstGeom>
          <a:solidFill>
            <a:schemeClr val="bg1"/>
          </a:solidFill>
        </p:spPr>
        <p:txBody>
          <a:bodyPr wrap="square" lIns="182880" tIns="146304" rIns="182880" bIns="146304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097AE7E-CEB3-47C2-BB0A-F874FA580697}"/>
              </a:ext>
            </a:extLst>
          </p:cNvPr>
          <p:cNvSpPr txBox="1"/>
          <p:nvPr/>
        </p:nvSpPr>
        <p:spPr>
          <a:xfrm>
            <a:off x="0" y="413504"/>
            <a:ext cx="1208567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Composite Mod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CA5D404-EB50-E246-6465-3407444D55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cap="none" baseline="0" dirty="0">
                <a:latin typeface="+mn-lt"/>
              </a:rPr>
              <a:t>Incremental Refresh Advantag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B365EB1-3B56-9AA1-2B83-B878CD36D278}"/>
              </a:ext>
            </a:extLst>
          </p:cNvPr>
          <p:cNvSpPr txBox="1"/>
          <p:nvPr/>
        </p:nvSpPr>
        <p:spPr>
          <a:xfrm>
            <a:off x="843602" y="1364637"/>
            <a:ext cx="6054632" cy="42627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Fewer Refresh </a:t>
            </a: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as </a:t>
            </a:r>
            <a:r>
              <a:rPr lang="en-US" sz="16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irectQuery</a:t>
            </a: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 captures latest data updates thus reducing the need for high refresh cadence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Faster Refreshes </a:t>
            </a: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as only the new/changed data is refreshed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More Reliable Refreshes</a:t>
            </a: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 because shorter/faster queries reduce potential for network problem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Reduce Resource Consumption </a:t>
            </a: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because less data to refresh reduces load on both PBI and data source systems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Scalability </a:t>
            </a: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because large datasets can grow without being fully refreshed with each refresh operation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Easy Setup </a:t>
            </a:r>
          </a:p>
          <a:p>
            <a:pPr marL="560070" lvl="1" indent="-285750">
              <a:spcBef>
                <a:spcPts val="600"/>
              </a:spcBef>
              <a:buSzPct val="80000"/>
              <a:buFont typeface="Courier New" panose="02070309020205020404" pitchFamily="49" charset="0"/>
              <a:buChar char="o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Incremental refresh policies defined in Power BI Desktop</a:t>
            </a:r>
          </a:p>
          <a:p>
            <a:pPr marL="560070" lvl="1" indent="-285750">
              <a:spcBef>
                <a:spcPts val="600"/>
              </a:spcBef>
              <a:buSzPct val="80000"/>
              <a:buFont typeface="Courier New" panose="02070309020205020404" pitchFamily="49" charset="0"/>
              <a:buChar char="o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Service automatically applies those policies on initial deployment and with each refresh.</a:t>
            </a:r>
          </a:p>
          <a:p>
            <a:pPr>
              <a:spcBef>
                <a:spcPts val="1200"/>
              </a:spcBef>
            </a:pPr>
            <a:endParaRPr lang="en-US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1784A9F-7F2A-0855-DCFE-41058D98DC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8678" y="1215750"/>
            <a:ext cx="4019720" cy="458989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F8E14AB-51F5-8BE2-9887-5F5E185E2E87}"/>
              </a:ext>
            </a:extLst>
          </p:cNvPr>
          <p:cNvSpPr txBox="1"/>
          <p:nvPr/>
        </p:nvSpPr>
        <p:spPr>
          <a:xfrm>
            <a:off x="7395438" y="6211669"/>
            <a:ext cx="38862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hlinkClick r:id="rId4"/>
              </a:rPr>
              <a:t>Incremental Refresh Configuration</a:t>
            </a:r>
            <a:endParaRPr lang="en-US" sz="1400" dirty="0"/>
          </a:p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067872240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3BBCB931-EFD1-4A5C-8683-D08A8146DA95}"/>
              </a:ext>
            </a:extLst>
          </p:cNvPr>
          <p:cNvSpPr/>
          <p:nvPr/>
        </p:nvSpPr>
        <p:spPr bwMode="auto">
          <a:xfrm>
            <a:off x="85592" y="6137478"/>
            <a:ext cx="1906772" cy="19032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8FD1552-547E-4B28-BD38-00C58A5971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defTabSz="9142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Variables and Parameter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7693899-B5C8-4361-B9BD-4E9B217BFB23}"/>
              </a:ext>
            </a:extLst>
          </p:cNvPr>
          <p:cNvSpPr/>
          <p:nvPr/>
        </p:nvSpPr>
        <p:spPr bwMode="auto">
          <a:xfrm>
            <a:off x="352635" y="1329292"/>
            <a:ext cx="3622309" cy="492030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5DFE189-5C1C-4356-85B6-7497A76A730A}"/>
              </a:ext>
            </a:extLst>
          </p:cNvPr>
          <p:cNvSpPr/>
          <p:nvPr/>
        </p:nvSpPr>
        <p:spPr bwMode="auto">
          <a:xfrm>
            <a:off x="4114507" y="1329291"/>
            <a:ext cx="3622309" cy="492030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5C640E2-954A-4760-AEFE-FB0C4845B899}"/>
              </a:ext>
            </a:extLst>
          </p:cNvPr>
          <p:cNvSpPr/>
          <p:nvPr/>
        </p:nvSpPr>
        <p:spPr bwMode="auto">
          <a:xfrm>
            <a:off x="7876379" y="1329290"/>
            <a:ext cx="3824041" cy="492030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D9A529-53EF-433A-B1F7-EBC227A7973A}"/>
              </a:ext>
            </a:extLst>
          </p:cNvPr>
          <p:cNvSpPr txBox="1"/>
          <p:nvPr/>
        </p:nvSpPr>
        <p:spPr>
          <a:xfrm>
            <a:off x="352635" y="1354620"/>
            <a:ext cx="3537555" cy="3434786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spcAft>
                <a:spcPts val="2400"/>
              </a:spcAft>
            </a:pPr>
            <a:r>
              <a:rPr lang="en-US" sz="2000" b="1" dirty="0">
                <a:solidFill>
                  <a:srgbClr val="50505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 Variables</a:t>
            </a:r>
          </a:p>
          <a:p>
            <a:pPr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Query with a constant value, table or list result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Create with a new blank query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Query name is the Variable name to use in other queri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Type the variable value in the formula bar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Advanced Editor would look like this: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7E6D501-D364-416A-8554-43CC7BCC4A08}"/>
              </a:ext>
            </a:extLst>
          </p:cNvPr>
          <p:cNvSpPr txBox="1"/>
          <p:nvPr/>
        </p:nvSpPr>
        <p:spPr>
          <a:xfrm>
            <a:off x="4161641" y="1332146"/>
            <a:ext cx="3381118" cy="3681008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spcAft>
                <a:spcPts val="2400"/>
              </a:spcAft>
            </a:pPr>
            <a:r>
              <a:rPr lang="en-US" sz="2000" b="1" dirty="0">
                <a:solidFill>
                  <a:srgbClr val="50505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 Parameters</a:t>
            </a:r>
          </a:p>
          <a:p>
            <a:pPr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Parameters take Variables to the next level. </a:t>
            </a:r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Parameters can be any valid data type </a:t>
            </a:r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The most common are hard keyed single, switchable valu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The values list for a parameter can also come from a query that is formatted as a </a:t>
            </a:r>
            <a:r>
              <a:rPr lang="en-US" sz="16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IST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Parameter used as Source Inpu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A4EEBF-0493-4A42-A1B6-AB7D45EFA045}"/>
              </a:ext>
            </a:extLst>
          </p:cNvPr>
          <p:cNvSpPr txBox="1"/>
          <p:nvPr/>
        </p:nvSpPr>
        <p:spPr>
          <a:xfrm>
            <a:off x="7814209" y="1329290"/>
            <a:ext cx="4102251" cy="455817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spcAft>
                <a:spcPts val="2400"/>
              </a:spcAft>
            </a:pPr>
            <a:r>
              <a:rPr lang="en-US" sz="2000" b="1" dirty="0">
                <a:solidFill>
                  <a:srgbClr val="50505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rameter Usage</a:t>
            </a:r>
          </a:p>
          <a:p>
            <a:pPr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Be Creative!</a:t>
            </a:r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SQL Server</a:t>
            </a:r>
          </a:p>
          <a:p>
            <a:pPr marL="742950" lvl="2" indent="-285750">
              <a:spcAft>
                <a:spcPts val="600"/>
              </a:spcAft>
              <a:buSzPct val="80000"/>
              <a:buFont typeface="Courier New" panose="02070309020205020404" pitchFamily="49" charset="0"/>
              <a:buChar char="o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For Database Name</a:t>
            </a:r>
          </a:p>
          <a:p>
            <a:pPr marL="742950" lvl="2" indent="-285750">
              <a:spcAft>
                <a:spcPts val="600"/>
              </a:spcAft>
              <a:buSzPct val="80000"/>
              <a:buFont typeface="Courier New" panose="02070309020205020404" pitchFamily="49" charset="0"/>
              <a:buChar char="o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For Server (Switch Dev, Test, Prod)</a:t>
            </a:r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“Where Clauses” in SQL Queries</a:t>
            </a:r>
          </a:p>
          <a:p>
            <a:pPr marL="742950" lvl="2" indent="-285750">
              <a:spcAft>
                <a:spcPts val="600"/>
              </a:spcAft>
              <a:buSzPct val="80000"/>
              <a:buFont typeface="Courier New" panose="02070309020205020404" pitchFamily="49" charset="0"/>
              <a:buChar char="o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To pull all Orgs, or just a single one</a:t>
            </a:r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SharePoint Team site names</a:t>
            </a:r>
          </a:p>
          <a:p>
            <a:pPr marL="742950" lvl="2" indent="-285750">
              <a:spcAft>
                <a:spcPts val="600"/>
              </a:spcAft>
              <a:buSzPct val="80000"/>
              <a:buFont typeface="Courier New" panose="02070309020205020404" pitchFamily="49" charset="0"/>
              <a:buChar char="o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If they are based on a template, you can easily share queries</a:t>
            </a:r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File Paths and File Names</a:t>
            </a:r>
          </a:p>
          <a:p>
            <a:pPr marL="742950" lvl="2" indent="-285750">
              <a:spcAft>
                <a:spcPts val="600"/>
              </a:spcAft>
              <a:buSzPct val="80000"/>
              <a:buFont typeface="Courier New" panose="02070309020205020404" pitchFamily="49" charset="0"/>
              <a:buChar char="o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Have a single place where you need to make a chang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993E915-DB57-4CAD-B564-81E7DC8D25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4384" y="4967021"/>
            <a:ext cx="1937704" cy="124032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18C7D20-4B7B-45BF-8090-CCE2A1900B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63797" y="5536047"/>
            <a:ext cx="4853261" cy="250236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5F2152F-C9E1-2AD9-76BC-0D06D176DA61}"/>
              </a:ext>
            </a:extLst>
          </p:cNvPr>
          <p:cNvCxnSpPr>
            <a:cxnSpLocks/>
          </p:cNvCxnSpPr>
          <p:nvPr/>
        </p:nvCxnSpPr>
        <p:spPr>
          <a:xfrm flipV="1">
            <a:off x="3857278" y="1534461"/>
            <a:ext cx="0" cy="343256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5E88E95-1ABA-DB67-C4A4-279487821646}"/>
              </a:ext>
            </a:extLst>
          </p:cNvPr>
          <p:cNvCxnSpPr>
            <a:cxnSpLocks/>
          </p:cNvCxnSpPr>
          <p:nvPr/>
        </p:nvCxnSpPr>
        <p:spPr>
          <a:xfrm flipV="1">
            <a:off x="7715819" y="1458581"/>
            <a:ext cx="0" cy="343256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A5960195-566E-561E-CF41-5B9ED32CF08B}"/>
              </a:ext>
            </a:extLst>
          </p:cNvPr>
          <p:cNvSpPr txBox="1"/>
          <p:nvPr/>
        </p:nvSpPr>
        <p:spPr>
          <a:xfrm>
            <a:off x="9348826" y="6373369"/>
            <a:ext cx="20764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hlinkClick r:id="rId5"/>
              </a:rPr>
              <a:t>Parameters | Microsoft Docs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32808549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A3260E9-8284-434C-8FDF-71867F294F34}"/>
              </a:ext>
            </a:extLst>
          </p:cNvPr>
          <p:cNvSpPr txBox="1"/>
          <p:nvPr/>
        </p:nvSpPr>
        <p:spPr>
          <a:xfrm>
            <a:off x="643738" y="1225860"/>
            <a:ext cx="7408214" cy="4619726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000" b="1" dirty="0">
                <a:solidFill>
                  <a:srgbClr val="50505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meric Data Types</a:t>
            </a:r>
          </a:p>
          <a:p>
            <a:pPr marL="800100"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Whole Number </a:t>
            </a:r>
          </a:p>
          <a:p>
            <a:pPr marL="800100"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Decimal Number </a:t>
            </a:r>
          </a:p>
          <a:p>
            <a:pPr marL="800100"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Fixed Decimal Number (Floating point stored as integer)</a:t>
            </a:r>
          </a:p>
          <a:p>
            <a:pPr marL="800100"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Boolean</a:t>
            </a:r>
          </a:p>
          <a:p>
            <a:pPr>
              <a:spcBef>
                <a:spcPts val="1200"/>
              </a:spcBef>
            </a:pPr>
            <a:r>
              <a:rPr lang="en-US" sz="2000" b="1" dirty="0">
                <a:solidFill>
                  <a:srgbClr val="50505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e/Time Data Types</a:t>
            </a:r>
          </a:p>
          <a:p>
            <a:pPr marL="800100"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Date – Internally stored as an integer</a:t>
            </a:r>
          </a:p>
          <a:p>
            <a:pPr marL="800100"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Time – Internally stored as a fraction between 0 and 1</a:t>
            </a:r>
          </a:p>
          <a:p>
            <a:pPr marL="800100"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Date Time </a:t>
            </a:r>
          </a:p>
          <a:p>
            <a:pPr>
              <a:spcBef>
                <a:spcPts val="1200"/>
              </a:spcBef>
            </a:pPr>
            <a:r>
              <a:rPr lang="en-US" sz="2000" b="1" dirty="0">
                <a:solidFill>
                  <a:srgbClr val="50505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ther Data Types</a:t>
            </a:r>
          </a:p>
          <a:p>
            <a:pPr marL="800100"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Text </a:t>
            </a:r>
          </a:p>
          <a:p>
            <a:pPr marL="800100"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Any</a:t>
            </a:r>
            <a:r>
              <a:rPr lang="en-US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 – </a:t>
            </a:r>
            <a:r>
              <a:rPr lang="en-US" b="1" dirty="0">
                <a:solidFill>
                  <a:srgbClr val="50505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voi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33E792E-4094-44B8-8F82-BB299D8B302D}"/>
              </a:ext>
            </a:extLst>
          </p:cNvPr>
          <p:cNvSpPr txBox="1"/>
          <p:nvPr/>
        </p:nvSpPr>
        <p:spPr>
          <a:xfrm>
            <a:off x="643738" y="6209252"/>
            <a:ext cx="5618073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sz="2000" b="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 Tip: Data type is different from data format</a:t>
            </a:r>
          </a:p>
        </p:txBody>
      </p:sp>
      <p:sp>
        <p:nvSpPr>
          <p:cNvPr id="4" name="Rounded Rectangle 4">
            <a:extLst>
              <a:ext uri="{FF2B5EF4-FFF2-40B4-BE49-F238E27FC236}">
                <a16:creationId xmlns:a16="http://schemas.microsoft.com/office/drawing/2014/main" id="{ADF2541F-A5B0-4A99-A3F8-42C6E12D5665}"/>
              </a:ext>
            </a:extLst>
          </p:cNvPr>
          <p:cNvSpPr/>
          <p:nvPr/>
        </p:nvSpPr>
        <p:spPr bwMode="auto">
          <a:xfrm>
            <a:off x="8051952" y="1322797"/>
            <a:ext cx="3257156" cy="1872116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tx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Set your </a:t>
            </a:r>
            <a:br>
              <a:rPr lang="en-US" sz="2400" dirty="0">
                <a:solidFill>
                  <a:schemeClr val="tx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</a:br>
            <a:r>
              <a:rPr lang="en-US" sz="2400" b="1" dirty="0">
                <a:solidFill>
                  <a:schemeClr val="tx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Data Types</a:t>
            </a:r>
            <a:r>
              <a:rPr lang="en-US" sz="2400" dirty="0">
                <a:solidFill>
                  <a:schemeClr val="tx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 </a:t>
            </a:r>
            <a:br>
              <a:rPr lang="en-US" sz="2400" dirty="0">
                <a:solidFill>
                  <a:schemeClr val="tx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</a:br>
            <a:r>
              <a:rPr lang="en-US" sz="2400" dirty="0">
                <a:solidFill>
                  <a:schemeClr val="tx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in the </a:t>
            </a:r>
            <a:br>
              <a:rPr lang="en-US" sz="2400" dirty="0">
                <a:solidFill>
                  <a:schemeClr val="tx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</a:br>
            <a:r>
              <a:rPr lang="en-US" sz="2400" u="sng" dirty="0">
                <a:solidFill>
                  <a:schemeClr val="tx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Query Edito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7290278-CA9A-4ED6-90D4-43A3B1FA9382}"/>
              </a:ext>
            </a:extLst>
          </p:cNvPr>
          <p:cNvSpPr txBox="1"/>
          <p:nvPr/>
        </p:nvSpPr>
        <p:spPr>
          <a:xfrm>
            <a:off x="83820" y="6576060"/>
            <a:ext cx="2019300" cy="281940"/>
          </a:xfrm>
          <a:prstGeom prst="rect">
            <a:avLst/>
          </a:prstGeom>
          <a:solidFill>
            <a:schemeClr val="bg1"/>
          </a:solidFill>
        </p:spPr>
        <p:txBody>
          <a:bodyPr wrap="square" lIns="182880" tIns="146304" rIns="182880" bIns="146304" rtlCol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2" name="Rounded Rectangle 4">
            <a:extLst>
              <a:ext uri="{FF2B5EF4-FFF2-40B4-BE49-F238E27FC236}">
                <a16:creationId xmlns:a16="http://schemas.microsoft.com/office/drawing/2014/main" id="{6E897C52-8313-4F7B-B69C-2DC7761197DD}"/>
              </a:ext>
            </a:extLst>
          </p:cNvPr>
          <p:cNvSpPr/>
          <p:nvPr/>
        </p:nvSpPr>
        <p:spPr bwMode="auto">
          <a:xfrm>
            <a:off x="8051951" y="3525937"/>
            <a:ext cx="3257156" cy="1872116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tx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Set your </a:t>
            </a:r>
            <a:br>
              <a:rPr lang="en-US" sz="2400" dirty="0">
                <a:solidFill>
                  <a:schemeClr val="tx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</a:br>
            <a:r>
              <a:rPr lang="en-US" sz="2400" b="1" dirty="0">
                <a:solidFill>
                  <a:schemeClr val="tx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Data Formats </a:t>
            </a:r>
            <a:br>
              <a:rPr lang="en-US" sz="2400" dirty="0">
                <a:solidFill>
                  <a:schemeClr val="tx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</a:br>
            <a:r>
              <a:rPr lang="en-US" sz="2400" dirty="0">
                <a:solidFill>
                  <a:schemeClr val="tx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($ %, </a:t>
            </a:r>
            <a:r>
              <a:rPr lang="en-US" sz="2400" dirty="0" err="1">
                <a:solidFill>
                  <a:schemeClr val="tx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etc</a:t>
            </a:r>
            <a:r>
              <a:rPr lang="en-US" sz="2400" dirty="0">
                <a:solidFill>
                  <a:schemeClr val="tx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) </a:t>
            </a:r>
            <a:br>
              <a:rPr lang="en-US" sz="2400" dirty="0">
                <a:solidFill>
                  <a:schemeClr val="tx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</a:br>
            <a:r>
              <a:rPr lang="en-US" sz="2400" dirty="0">
                <a:solidFill>
                  <a:schemeClr val="tx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in the Data Mod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3009F80-CFC1-0BEC-A9B7-BBC401343A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9330" y="457775"/>
            <a:ext cx="10339200" cy="412454"/>
          </a:xfrm>
        </p:spPr>
        <p:txBody>
          <a:bodyPr/>
          <a:lstStyle/>
          <a:p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ata Types</a:t>
            </a:r>
            <a:b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3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18366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Isosceles Triangle 53">
            <a:extLst>
              <a:ext uri="{FF2B5EF4-FFF2-40B4-BE49-F238E27FC236}">
                <a16:creationId xmlns:a16="http://schemas.microsoft.com/office/drawing/2014/main" id="{13C7B39E-36DA-F3CA-35FF-B2CCDB43CE90}"/>
              </a:ext>
            </a:extLst>
          </p:cNvPr>
          <p:cNvSpPr/>
          <p:nvPr/>
        </p:nvSpPr>
        <p:spPr>
          <a:xfrm rot="10800000">
            <a:off x="0" y="0"/>
            <a:ext cx="394302" cy="5666154"/>
          </a:xfrm>
          <a:prstGeom prst="triangle">
            <a:avLst>
              <a:gd name="adj" fmla="val 100000"/>
            </a:avLst>
          </a:prstGeom>
          <a:solidFill>
            <a:srgbClr val="90C226">
              <a:alpha val="85000"/>
            </a:srgbClr>
          </a:solidFill>
          <a:ln w="12700" cap="rnd" cmpd="sng" algn="ctr">
            <a:noFill/>
            <a:prstDash val="soli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FEF3C0F-63C3-2A46-9D4F-D0AF8F524515}"/>
              </a:ext>
            </a:extLst>
          </p:cNvPr>
          <p:cNvGrpSpPr/>
          <p:nvPr/>
        </p:nvGrpSpPr>
        <p:grpSpPr>
          <a:xfrm>
            <a:off x="1613744" y="6461147"/>
            <a:ext cx="2437791" cy="227563"/>
            <a:chOff x="11525347" y="6422134"/>
            <a:chExt cx="2304919" cy="227563"/>
          </a:xfrm>
        </p:grpSpPr>
        <p:sp>
          <p:nvSpPr>
            <p:cNvPr id="13" name="Rectangle 13">
              <a:hlinkClick r:id="rId3"/>
              <a:extLst>
                <a:ext uri="{FF2B5EF4-FFF2-40B4-BE49-F238E27FC236}">
                  <a16:creationId xmlns:a16="http://schemas.microsoft.com/office/drawing/2014/main" id="{89344B9C-2E7A-3C84-A33D-71D8870466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25347" y="6422134"/>
              <a:ext cx="2304919" cy="227563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6688BB">
                    <a:lumMod val="75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See                           profile for more details</a:t>
              </a:r>
            </a:p>
          </p:txBody>
        </p:sp>
        <p:pic>
          <p:nvPicPr>
            <p:cNvPr id="14" name="Picture 13">
              <a:hlinkClick r:id="rId3"/>
              <a:extLst>
                <a:ext uri="{FF2B5EF4-FFF2-40B4-BE49-F238E27FC236}">
                  <a16:creationId xmlns:a16="http://schemas.microsoft.com/office/drawing/2014/main" id="{1C16E52F-F74E-D582-6382-9FBD023EB7A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818113" y="6433860"/>
              <a:ext cx="711396" cy="192033"/>
            </a:xfrm>
            <a:prstGeom prst="rect">
              <a:avLst/>
            </a:prstGeom>
          </p:spPr>
        </p:pic>
      </p:grpSp>
      <p:sp>
        <p:nvSpPr>
          <p:cNvPr id="24" name="Rectangle 6">
            <a:extLst>
              <a:ext uri="{FF2B5EF4-FFF2-40B4-BE49-F238E27FC236}">
                <a16:creationId xmlns:a16="http://schemas.microsoft.com/office/drawing/2014/main" id="{E0D8F049-DD0E-94E9-3E28-B4658BA037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45711" y="294333"/>
            <a:ext cx="2360503" cy="812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3025" tIns="36512" rIns="73025" bIns="36512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uben Vadnai</a:t>
            </a: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ata &amp; AI Consulta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hicago, IL</a:t>
            </a:r>
          </a:p>
        </p:txBody>
      </p:sp>
      <p:pic>
        <p:nvPicPr>
          <p:cNvPr id="35" name="Picture 34" descr="A person with a beard&#10;&#10;Description automatically generated with low confidence">
            <a:extLst>
              <a:ext uri="{FF2B5EF4-FFF2-40B4-BE49-F238E27FC236}">
                <a16:creationId xmlns:a16="http://schemas.microsoft.com/office/drawing/2014/main" id="{D27B58C8-134C-2D1D-8F93-579545FDAD3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914" y="0"/>
            <a:ext cx="1325509" cy="141784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48" name="Rectangle 29">
            <a:extLst>
              <a:ext uri="{FF2B5EF4-FFF2-40B4-BE49-F238E27FC236}">
                <a16:creationId xmlns:a16="http://schemas.microsoft.com/office/drawing/2014/main" id="{C42FAE94-FDAF-A76A-DE34-72512598BBCD}"/>
              </a:ext>
            </a:extLst>
          </p:cNvPr>
          <p:cNvSpPr/>
          <p:nvPr/>
        </p:nvSpPr>
        <p:spPr>
          <a:xfrm>
            <a:off x="11396426" y="-8467"/>
            <a:ext cx="792397" cy="6866467"/>
          </a:xfrm>
          <a:custGeom>
            <a:avLst/>
            <a:gdLst/>
            <a:ahLst/>
            <a:cxnLst/>
            <a:rect l="l" t="t" r="r" b="b"/>
            <a:pathLst>
              <a:path w="1249825" h="6858000">
                <a:moveTo>
                  <a:pt x="0" y="0"/>
                </a:moveTo>
                <a:lnTo>
                  <a:pt x="1249825" y="0"/>
                </a:lnTo>
                <a:lnTo>
                  <a:pt x="1249825" y="6858000"/>
                </a:lnTo>
                <a:lnTo>
                  <a:pt x="1109382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68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50" name="Rectangle 28">
            <a:extLst>
              <a:ext uri="{FF2B5EF4-FFF2-40B4-BE49-F238E27FC236}">
                <a16:creationId xmlns:a16="http://schemas.microsoft.com/office/drawing/2014/main" id="{85898A2B-BDA1-29ED-277E-B03D899EEF62}"/>
              </a:ext>
            </a:extLst>
          </p:cNvPr>
          <p:cNvSpPr/>
          <p:nvPr/>
        </p:nvSpPr>
        <p:spPr>
          <a:xfrm>
            <a:off x="11607066" y="-8467"/>
            <a:ext cx="581757" cy="6866467"/>
          </a:xfrm>
          <a:custGeom>
            <a:avLst/>
            <a:gdLst/>
            <a:ahLst/>
            <a:cxnLst/>
            <a:rect l="l" t="t" r="r" b="b"/>
            <a:pathLst>
              <a:path w="1290094" h="6858000">
                <a:moveTo>
                  <a:pt x="1019735" y="0"/>
                </a:moveTo>
                <a:lnTo>
                  <a:pt x="1290094" y="0"/>
                </a:lnTo>
                <a:lnTo>
                  <a:pt x="1290094" y="6858000"/>
                </a:lnTo>
                <a:lnTo>
                  <a:pt x="0" y="6858000"/>
                </a:lnTo>
                <a:lnTo>
                  <a:pt x="1019735" y="0"/>
                </a:lnTo>
                <a:close/>
              </a:path>
            </a:pathLst>
          </a:custGeom>
          <a:solidFill>
            <a:srgbClr val="92D050">
              <a:alpha val="76000"/>
            </a:srgbClr>
          </a:solidFill>
          <a:ln w="12700" cap="rnd" cmpd="sng" algn="ctr">
            <a:noFill/>
            <a:prstDash val="soli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</p:sp>
      <p:sp>
        <p:nvSpPr>
          <p:cNvPr id="52" name="Isosceles Triangle 51">
            <a:extLst>
              <a:ext uri="{FF2B5EF4-FFF2-40B4-BE49-F238E27FC236}">
                <a16:creationId xmlns:a16="http://schemas.microsoft.com/office/drawing/2014/main" id="{1C8CBC58-B4D0-938F-CDFD-90C8BB00F7F8}"/>
              </a:ext>
            </a:extLst>
          </p:cNvPr>
          <p:cNvSpPr/>
          <p:nvPr/>
        </p:nvSpPr>
        <p:spPr>
          <a:xfrm rot="10800000">
            <a:off x="-1" y="0"/>
            <a:ext cx="301429" cy="5165678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58" name="Rectangle 23">
            <a:extLst>
              <a:ext uri="{FF2B5EF4-FFF2-40B4-BE49-F238E27FC236}">
                <a16:creationId xmlns:a16="http://schemas.microsoft.com/office/drawing/2014/main" id="{1A6E5EA5-229F-AF67-6BC4-F9AD8A8B343F}"/>
              </a:ext>
            </a:extLst>
          </p:cNvPr>
          <p:cNvSpPr/>
          <p:nvPr/>
        </p:nvSpPr>
        <p:spPr>
          <a:xfrm rot="271424">
            <a:off x="11398917" y="9831"/>
            <a:ext cx="520496" cy="6866467"/>
          </a:xfrm>
          <a:custGeom>
            <a:avLst/>
            <a:gdLst/>
            <a:ahLst/>
            <a:cxnLst/>
            <a:rect l="l" t="t" r="r" b="b"/>
            <a:pathLst>
              <a:path w="3007349" h="6866467">
                <a:moveTo>
                  <a:pt x="2045532" y="0"/>
                </a:moveTo>
                <a:lnTo>
                  <a:pt x="3007349" y="0"/>
                </a:lnTo>
                <a:lnTo>
                  <a:pt x="3007349" y="6866467"/>
                </a:lnTo>
                <a:lnTo>
                  <a:pt x="0" y="6866467"/>
                </a:lnTo>
                <a:lnTo>
                  <a:pt x="2045532" y="0"/>
                </a:lnTo>
                <a:close/>
              </a:path>
            </a:pathLst>
          </a:custGeom>
          <a:solidFill>
            <a:srgbClr val="90C226">
              <a:alpha val="30000"/>
            </a:srgbClr>
          </a:solidFill>
          <a:ln w="12700" cap="rnd" cmpd="sng" algn="ctr">
            <a:noFill/>
            <a:prstDash val="soli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76B9F887-AC31-7AC5-C991-46B6F43BDE10}"/>
              </a:ext>
            </a:extLst>
          </p:cNvPr>
          <p:cNvGrpSpPr/>
          <p:nvPr/>
        </p:nvGrpSpPr>
        <p:grpSpPr>
          <a:xfrm>
            <a:off x="2056189" y="1583333"/>
            <a:ext cx="3114367" cy="1416201"/>
            <a:chOff x="360489" y="1866665"/>
            <a:chExt cx="3311243" cy="1628970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1CD5FDA6-9944-121F-FFB8-0653906921A2}"/>
                </a:ext>
              </a:extLst>
            </p:cNvPr>
            <p:cNvGrpSpPr/>
            <p:nvPr/>
          </p:nvGrpSpPr>
          <p:grpSpPr>
            <a:xfrm>
              <a:off x="360489" y="1885173"/>
              <a:ext cx="2363264" cy="1610462"/>
              <a:chOff x="207503" y="1773978"/>
              <a:chExt cx="2275465" cy="1797625"/>
            </a:xfrm>
          </p:grpSpPr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B46B5FDC-66A0-9CDA-CF43-963BFB7A4612}"/>
                  </a:ext>
                </a:extLst>
              </p:cNvPr>
              <p:cNvSpPr/>
              <p:nvPr/>
            </p:nvSpPr>
            <p:spPr>
              <a:xfrm>
                <a:off x="383074" y="1812521"/>
                <a:ext cx="2099894" cy="352725"/>
              </a:xfrm>
              <a:custGeom>
                <a:avLst/>
                <a:gdLst>
                  <a:gd name="connsiteX0" fmla="*/ 0 w 2399186"/>
                  <a:gd name="connsiteY0" fmla="*/ 0 h 352722"/>
                  <a:gd name="connsiteX1" fmla="*/ 2222825 w 2399186"/>
                  <a:gd name="connsiteY1" fmla="*/ 0 h 352722"/>
                  <a:gd name="connsiteX2" fmla="*/ 2399186 w 2399186"/>
                  <a:gd name="connsiteY2" fmla="*/ 176361 h 352722"/>
                  <a:gd name="connsiteX3" fmla="*/ 2222825 w 2399186"/>
                  <a:gd name="connsiteY3" fmla="*/ 352722 h 352722"/>
                  <a:gd name="connsiteX4" fmla="*/ 0 w 2399186"/>
                  <a:gd name="connsiteY4" fmla="*/ 352722 h 352722"/>
                  <a:gd name="connsiteX5" fmla="*/ 0 w 2399186"/>
                  <a:gd name="connsiteY5" fmla="*/ 0 h 352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99186" h="352722">
                    <a:moveTo>
                      <a:pt x="2399186" y="352721"/>
                    </a:moveTo>
                    <a:lnTo>
                      <a:pt x="176361" y="352721"/>
                    </a:lnTo>
                    <a:lnTo>
                      <a:pt x="0" y="176361"/>
                    </a:lnTo>
                    <a:lnTo>
                      <a:pt x="176361" y="1"/>
                    </a:lnTo>
                    <a:lnTo>
                      <a:pt x="2399186" y="1"/>
                    </a:lnTo>
                    <a:lnTo>
                      <a:pt x="2399186" y="352721"/>
                    </a:lnTo>
                    <a:close/>
                  </a:path>
                </a:pathLst>
              </a:custGeom>
              <a:noFill/>
              <a:ln>
                <a:noFill/>
              </a:ln>
              <a:scene3d>
                <a:camera prst="orthographicFront"/>
                <a:lightRig rig="flat" dir="t"/>
              </a:scene3d>
              <a:sp3d prstMaterial="dkEdge">
                <a:bevelT w="8200" h="38100"/>
              </a:sp3d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43721" tIns="53341" rIns="99568" bIns="53341" numCol="1" spcCol="1270" anchor="ctr" anchorCtr="0">
                <a:noAutofit/>
              </a:bodyPr>
              <a:lstStyle/>
              <a:p>
                <a:pPr marL="0" marR="0" lvl="0" indent="0" algn="l" defTabSz="6223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Segoe Print" panose="02000600000000000000" pitchFamily="2" charset="0"/>
                    <a:ea typeface="+mn-ea"/>
                    <a:cs typeface="Segoe UI" panose="020B0502040204020203" pitchFamily="34" charset="0"/>
                  </a:rPr>
                  <a:t> Born in Switzerland</a:t>
                </a: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B8C43B40-5E5C-93D7-55ED-2EF101B2ACA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07503" y="1773978"/>
                <a:ext cx="300656" cy="383961"/>
              </a:xfrm>
              <a:prstGeom prst="ellipse">
                <a:avLst/>
              </a:prstGeom>
              <a:blipFill rotWithShape="1"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</p:spPr>
            <p:style>
              <a:lnRef idx="1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1">
                <a:schemeClr val="dk1"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A3747F1D-000F-F459-C34B-EA39C90C3440}"/>
                  </a:ext>
                </a:extLst>
              </p:cNvPr>
              <p:cNvSpPr/>
              <p:nvPr/>
            </p:nvSpPr>
            <p:spPr>
              <a:xfrm>
                <a:off x="331566" y="2280755"/>
                <a:ext cx="2099896" cy="352722"/>
              </a:xfrm>
              <a:custGeom>
                <a:avLst/>
                <a:gdLst>
                  <a:gd name="connsiteX0" fmla="*/ 0 w 2291325"/>
                  <a:gd name="connsiteY0" fmla="*/ 0 h 352722"/>
                  <a:gd name="connsiteX1" fmla="*/ 2114964 w 2291325"/>
                  <a:gd name="connsiteY1" fmla="*/ 0 h 352722"/>
                  <a:gd name="connsiteX2" fmla="*/ 2291325 w 2291325"/>
                  <a:gd name="connsiteY2" fmla="*/ 176361 h 352722"/>
                  <a:gd name="connsiteX3" fmla="*/ 2114964 w 2291325"/>
                  <a:gd name="connsiteY3" fmla="*/ 352722 h 352722"/>
                  <a:gd name="connsiteX4" fmla="*/ 0 w 2291325"/>
                  <a:gd name="connsiteY4" fmla="*/ 352722 h 352722"/>
                  <a:gd name="connsiteX5" fmla="*/ 0 w 2291325"/>
                  <a:gd name="connsiteY5" fmla="*/ 0 h 352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91325" h="352722">
                    <a:moveTo>
                      <a:pt x="2291325" y="352721"/>
                    </a:moveTo>
                    <a:lnTo>
                      <a:pt x="176361" y="352721"/>
                    </a:lnTo>
                    <a:lnTo>
                      <a:pt x="0" y="176361"/>
                    </a:lnTo>
                    <a:lnTo>
                      <a:pt x="176361" y="1"/>
                    </a:lnTo>
                    <a:lnTo>
                      <a:pt x="2291325" y="1"/>
                    </a:lnTo>
                    <a:lnTo>
                      <a:pt x="2291325" y="352721"/>
                    </a:lnTo>
                    <a:close/>
                  </a:path>
                </a:pathLst>
              </a:custGeom>
              <a:noFill/>
              <a:ln>
                <a:noFill/>
              </a:ln>
              <a:scene3d>
                <a:camera prst="orthographicFront"/>
                <a:lightRig rig="flat" dir="t"/>
              </a:scene3d>
              <a:sp3d prstMaterial="dkEdge">
                <a:bevelT w="8200" h="38100"/>
              </a:sp3d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43721" tIns="53341" rIns="99568" bIns="53340" numCol="1" spcCol="1270" anchor="ctr" anchorCtr="0">
                <a:noAutofit/>
              </a:bodyPr>
              <a:lstStyle/>
              <a:p>
                <a:pPr marL="0" marR="0" lvl="0" indent="0" algn="l" defTabSz="6223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Segoe Print" panose="02000600000000000000" pitchFamily="2" charset="0"/>
                    <a:ea typeface="+mn-ea"/>
                    <a:cs typeface="Segoe UI" panose="020B0502040204020203" pitchFamily="34" charset="0"/>
                  </a:rPr>
                  <a:t>  Raised in France</a:t>
                </a: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B6FDE87B-0EA3-3A38-71A4-6A2EDB84541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07503" y="2245198"/>
                <a:ext cx="300656" cy="348546"/>
              </a:xfrm>
              <a:prstGeom prst="ellipse">
                <a:avLst/>
              </a:prstGeom>
              <a:blipFill>
                <a:blip r:embed="rId7"/>
                <a:srcRect/>
                <a:stretch>
                  <a:fillRect/>
                </a:stretch>
              </a:blipFill>
            </p:spPr>
            <p:style>
              <a:lnRef idx="1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1">
                <a:schemeClr val="dk1"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7D0E020E-DCD8-A170-42F6-9A1E6356908A}"/>
                  </a:ext>
                </a:extLst>
              </p:cNvPr>
              <p:cNvSpPr/>
              <p:nvPr/>
            </p:nvSpPr>
            <p:spPr>
              <a:xfrm>
                <a:off x="320406" y="2756846"/>
                <a:ext cx="2111978" cy="352722"/>
              </a:xfrm>
              <a:custGeom>
                <a:avLst/>
                <a:gdLst>
                  <a:gd name="connsiteX0" fmla="*/ 0 w 2314900"/>
                  <a:gd name="connsiteY0" fmla="*/ 0 h 352722"/>
                  <a:gd name="connsiteX1" fmla="*/ 2138539 w 2314900"/>
                  <a:gd name="connsiteY1" fmla="*/ 0 h 352722"/>
                  <a:gd name="connsiteX2" fmla="*/ 2314900 w 2314900"/>
                  <a:gd name="connsiteY2" fmla="*/ 176361 h 352722"/>
                  <a:gd name="connsiteX3" fmla="*/ 2138539 w 2314900"/>
                  <a:gd name="connsiteY3" fmla="*/ 352722 h 352722"/>
                  <a:gd name="connsiteX4" fmla="*/ 0 w 2314900"/>
                  <a:gd name="connsiteY4" fmla="*/ 352722 h 352722"/>
                  <a:gd name="connsiteX5" fmla="*/ 0 w 2314900"/>
                  <a:gd name="connsiteY5" fmla="*/ 0 h 352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14900" h="352722">
                    <a:moveTo>
                      <a:pt x="2314900" y="352721"/>
                    </a:moveTo>
                    <a:lnTo>
                      <a:pt x="176361" y="352721"/>
                    </a:lnTo>
                    <a:lnTo>
                      <a:pt x="0" y="176361"/>
                    </a:lnTo>
                    <a:lnTo>
                      <a:pt x="176361" y="1"/>
                    </a:lnTo>
                    <a:lnTo>
                      <a:pt x="2314900" y="1"/>
                    </a:lnTo>
                    <a:lnTo>
                      <a:pt x="2314900" y="352721"/>
                    </a:lnTo>
                    <a:close/>
                  </a:path>
                </a:pathLst>
              </a:custGeom>
              <a:noFill/>
              <a:ln>
                <a:noFill/>
              </a:ln>
              <a:scene3d>
                <a:camera prst="orthographicFront"/>
                <a:lightRig rig="flat" dir="t"/>
              </a:scene3d>
              <a:sp3d prstMaterial="dkEdge">
                <a:bevelT w="8200" h="38100"/>
              </a:sp3d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43721" tIns="53341" rIns="99568" bIns="53340" numCol="1" spcCol="1270" anchor="ctr" anchorCtr="0">
                <a:noAutofit/>
              </a:bodyPr>
              <a:lstStyle/>
              <a:p>
                <a:pPr marL="0" marR="0" lvl="0" indent="0" algn="l" defTabSz="6223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Segoe Print" panose="02000600000000000000" pitchFamily="2" charset="0"/>
                    <a:ea typeface="+mn-ea"/>
                    <a:cs typeface="Segoe UI" panose="020B0502040204020203" pitchFamily="34" charset="0"/>
                  </a:rPr>
                  <a:t>  Educated in USA</a:t>
                </a:r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053D8EC9-242C-6719-43A8-7C00DAE97E9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07503" y="2716420"/>
                <a:ext cx="300656" cy="383961"/>
              </a:xfrm>
              <a:prstGeom prst="ellipse">
                <a:avLst/>
              </a:prstGeom>
              <a:blipFill>
                <a:blip r:embed="rId8"/>
                <a:srcRect/>
                <a:stretch>
                  <a:fillRect/>
                </a:stretch>
              </a:blipFill>
            </p:spPr>
            <p:style>
              <a:lnRef idx="1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1">
                <a:schemeClr val="dk1"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119EE9EC-B33C-6844-65D0-B384C4301717}"/>
                  </a:ext>
                </a:extLst>
              </p:cNvPr>
              <p:cNvSpPr/>
              <p:nvPr/>
            </p:nvSpPr>
            <p:spPr>
              <a:xfrm>
                <a:off x="397425" y="3204489"/>
                <a:ext cx="2084361" cy="352722"/>
              </a:xfrm>
              <a:custGeom>
                <a:avLst/>
                <a:gdLst>
                  <a:gd name="connsiteX0" fmla="*/ 0 w 2453106"/>
                  <a:gd name="connsiteY0" fmla="*/ 0 h 352722"/>
                  <a:gd name="connsiteX1" fmla="*/ 2276745 w 2453106"/>
                  <a:gd name="connsiteY1" fmla="*/ 0 h 352722"/>
                  <a:gd name="connsiteX2" fmla="*/ 2453106 w 2453106"/>
                  <a:gd name="connsiteY2" fmla="*/ 176361 h 352722"/>
                  <a:gd name="connsiteX3" fmla="*/ 2276745 w 2453106"/>
                  <a:gd name="connsiteY3" fmla="*/ 352722 h 352722"/>
                  <a:gd name="connsiteX4" fmla="*/ 0 w 2453106"/>
                  <a:gd name="connsiteY4" fmla="*/ 352722 h 352722"/>
                  <a:gd name="connsiteX5" fmla="*/ 0 w 2453106"/>
                  <a:gd name="connsiteY5" fmla="*/ 0 h 352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53106" h="352722">
                    <a:moveTo>
                      <a:pt x="2453106" y="352721"/>
                    </a:moveTo>
                    <a:lnTo>
                      <a:pt x="176361" y="352721"/>
                    </a:lnTo>
                    <a:lnTo>
                      <a:pt x="0" y="176361"/>
                    </a:lnTo>
                    <a:lnTo>
                      <a:pt x="176361" y="1"/>
                    </a:lnTo>
                    <a:lnTo>
                      <a:pt x="2453106" y="1"/>
                    </a:lnTo>
                    <a:lnTo>
                      <a:pt x="2453106" y="352721"/>
                    </a:lnTo>
                    <a:close/>
                  </a:path>
                </a:pathLst>
              </a:custGeom>
              <a:noFill/>
              <a:ln>
                <a:noFill/>
              </a:ln>
              <a:scene3d>
                <a:camera prst="orthographicFront"/>
                <a:lightRig rig="flat" dir="t"/>
              </a:scene3d>
              <a:sp3d prstMaterial="dkEdge">
                <a:bevelT w="8200" h="38100"/>
              </a:sp3d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43721" tIns="53341" rIns="99568" bIns="53340" numCol="1" spcCol="1270" anchor="ctr" anchorCtr="0">
                <a:noAutofit/>
              </a:bodyPr>
              <a:lstStyle/>
              <a:p>
                <a:pPr marL="0" marR="0" lvl="0" indent="0" algn="l" defTabSz="6223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Segoe Print" panose="02000600000000000000" pitchFamily="2" charset="0"/>
                    <a:ea typeface="+mn-ea"/>
                    <a:cs typeface="Segoe UI" panose="020B0502040204020203" pitchFamily="34" charset="0"/>
                  </a:rPr>
                  <a:t> 20+ years in Chicago</a:t>
                </a:r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A0E6F689-1068-1271-8B2B-2BF81B55691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07503" y="3187642"/>
                <a:ext cx="300656" cy="383961"/>
              </a:xfrm>
              <a:prstGeom prst="ellipse">
                <a:avLst/>
              </a:prstGeom>
              <a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 t="-1000" b="-1000"/>
                </a:stretch>
              </a:blipFill>
            </p:spPr>
            <p:style>
              <a:lnRef idx="1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1">
                <a:schemeClr val="dk1"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</p:grpSp>
        <p:pic>
          <p:nvPicPr>
            <p:cNvPr id="39" name="Picture 2">
              <a:extLst>
                <a:ext uri="{FF2B5EF4-FFF2-40B4-BE49-F238E27FC236}">
                  <a16:creationId xmlns:a16="http://schemas.microsoft.com/office/drawing/2014/main" id="{0ACCA655-80D0-AFAD-8281-07C969FC51A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2064" y="2599266"/>
              <a:ext cx="369668" cy="3874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2">
              <a:extLst>
                <a:ext uri="{FF2B5EF4-FFF2-40B4-BE49-F238E27FC236}">
                  <a16:creationId xmlns:a16="http://schemas.microsoft.com/office/drawing/2014/main" id="{7131085A-3BC2-70B3-FDEC-68DA1163C4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871675">
              <a:off x="2929436" y="3087206"/>
              <a:ext cx="377183" cy="392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" name="Picture 40" descr="A picture containing table, knife&#10;&#10;Description automatically generated">
              <a:extLst>
                <a:ext uri="{FF2B5EF4-FFF2-40B4-BE49-F238E27FC236}">
                  <a16:creationId xmlns:a16="http://schemas.microsoft.com/office/drawing/2014/main" id="{A0A2C7C7-2169-F5B2-F8A7-601D1D0205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43831" y="1866665"/>
              <a:ext cx="425629" cy="291328"/>
            </a:xfrm>
            <a:prstGeom prst="rect">
              <a:avLst/>
            </a:prstGeom>
          </p:spPr>
        </p:pic>
        <p:pic>
          <p:nvPicPr>
            <p:cNvPr id="42" name="Picture 2" descr="baguette GIF">
              <a:extLst>
                <a:ext uri="{FF2B5EF4-FFF2-40B4-BE49-F238E27FC236}">
                  <a16:creationId xmlns:a16="http://schemas.microsoft.com/office/drawing/2014/main" id="{4B9B14FF-4BF0-8A4F-D5E8-3696137CDEC9}"/>
                </a:ext>
              </a:extLst>
            </p:cNvPr>
            <p:cNvPicPr>
              <a:picLocks noChangeAspect="1" noChangeArrowheads="1" noCrop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29074" y="2289365"/>
              <a:ext cx="459927" cy="4332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0" name="Picture 2">
            <a:extLst>
              <a:ext uri="{FF2B5EF4-FFF2-40B4-BE49-F238E27FC236}">
                <a16:creationId xmlns:a16="http://schemas.microsoft.com/office/drawing/2014/main" id="{35162F6A-D0D6-2949-3B16-49893D4900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duotone>
              <a:schemeClr val="accent6">
                <a:shade val="45000"/>
                <a:satMod val="135000"/>
              </a:schemeClr>
              <a:prstClr val="white"/>
            </a:duotone>
            <a:alphaModFix amt="62000"/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contrast="-8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1718" y="3168409"/>
            <a:ext cx="2445274" cy="592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EAE9C1E9-2948-01D8-3D5F-E533D87B8737}"/>
              </a:ext>
            </a:extLst>
          </p:cNvPr>
          <p:cNvGrpSpPr/>
          <p:nvPr/>
        </p:nvGrpSpPr>
        <p:grpSpPr>
          <a:xfrm>
            <a:off x="1886716" y="3998729"/>
            <a:ext cx="3171593" cy="1947162"/>
            <a:chOff x="981256" y="4128772"/>
            <a:chExt cx="3308370" cy="1947162"/>
          </a:xfrm>
        </p:grpSpPr>
        <p:sp>
          <p:nvSpPr>
            <p:cNvPr id="71" name="Rectangle: Rounded Corners 70">
              <a:extLst>
                <a:ext uri="{FF2B5EF4-FFF2-40B4-BE49-F238E27FC236}">
                  <a16:creationId xmlns:a16="http://schemas.microsoft.com/office/drawing/2014/main" id="{769FD217-D438-15E4-8F07-30F9348E586F}"/>
                </a:ext>
              </a:extLst>
            </p:cNvPr>
            <p:cNvSpPr/>
            <p:nvPr/>
          </p:nvSpPr>
          <p:spPr>
            <a:xfrm>
              <a:off x="981256" y="4128772"/>
              <a:ext cx="3308370" cy="1935281"/>
            </a:xfrm>
            <a:prstGeom prst="roundRect">
              <a:avLst>
                <a:gd name="adj" fmla="val 5782"/>
              </a:avLst>
            </a:prstGeom>
            <a:solidFill>
              <a:schemeClr val="accent6">
                <a:lumMod val="20000"/>
                <a:lumOff val="80000"/>
                <a:alpha val="26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CFDDD053-9450-8D0C-E10C-83EA78AA1DE1}"/>
                </a:ext>
              </a:extLst>
            </p:cNvPr>
            <p:cNvSpPr/>
            <p:nvPr/>
          </p:nvSpPr>
          <p:spPr>
            <a:xfrm>
              <a:off x="1764584" y="4774173"/>
              <a:ext cx="2281785" cy="136366"/>
            </a:xfrm>
            <a:custGeom>
              <a:avLst/>
              <a:gdLst>
                <a:gd name="connsiteX0" fmla="*/ 0 w 7127629"/>
                <a:gd name="connsiteY0" fmla="*/ 0 h 176398"/>
                <a:gd name="connsiteX1" fmla="*/ 7039430 w 7127629"/>
                <a:gd name="connsiteY1" fmla="*/ 0 h 176398"/>
                <a:gd name="connsiteX2" fmla="*/ 7127629 w 7127629"/>
                <a:gd name="connsiteY2" fmla="*/ 88199 h 176398"/>
                <a:gd name="connsiteX3" fmla="*/ 7039430 w 7127629"/>
                <a:gd name="connsiteY3" fmla="*/ 176398 h 176398"/>
                <a:gd name="connsiteX4" fmla="*/ 0 w 7127629"/>
                <a:gd name="connsiteY4" fmla="*/ 176398 h 176398"/>
                <a:gd name="connsiteX5" fmla="*/ 0 w 7127629"/>
                <a:gd name="connsiteY5" fmla="*/ 0 h 176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27629" h="176398">
                  <a:moveTo>
                    <a:pt x="7127629" y="176397"/>
                  </a:moveTo>
                  <a:lnTo>
                    <a:pt x="88199" y="176397"/>
                  </a:lnTo>
                  <a:lnTo>
                    <a:pt x="0" y="88199"/>
                  </a:lnTo>
                  <a:lnTo>
                    <a:pt x="88199" y="1"/>
                  </a:lnTo>
                  <a:lnTo>
                    <a:pt x="7127629" y="1"/>
                  </a:lnTo>
                  <a:lnTo>
                    <a:pt x="7127629" y="176397"/>
                  </a:lnTo>
                  <a:close/>
                </a:path>
              </a:pathLst>
            </a:custGeom>
            <a:noFill/>
            <a:ln>
              <a:noFill/>
            </a:ln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57151" rIns="106680" bIns="57151" numCol="1" spcCol="1270" anchor="ctr" anchorCtr="0">
              <a:noAutofit/>
            </a:bodyPr>
            <a:lstStyle/>
            <a:p>
              <a:pPr marL="0" marR="0" lvl="0" indent="0" algn="l" defTabSz="66675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International Market Development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Franklin Gothic Book" panose="020B05030201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D9B84145-5945-D122-8F44-0E0E80030B16}"/>
                </a:ext>
              </a:extLst>
            </p:cNvPr>
            <p:cNvSpPr/>
            <p:nvPr/>
          </p:nvSpPr>
          <p:spPr>
            <a:xfrm>
              <a:off x="1764584" y="4515486"/>
              <a:ext cx="2281785" cy="136366"/>
            </a:xfrm>
            <a:custGeom>
              <a:avLst/>
              <a:gdLst>
                <a:gd name="connsiteX0" fmla="*/ 0 w 7127629"/>
                <a:gd name="connsiteY0" fmla="*/ 0 h 176398"/>
                <a:gd name="connsiteX1" fmla="*/ 7039430 w 7127629"/>
                <a:gd name="connsiteY1" fmla="*/ 0 h 176398"/>
                <a:gd name="connsiteX2" fmla="*/ 7127629 w 7127629"/>
                <a:gd name="connsiteY2" fmla="*/ 88199 h 176398"/>
                <a:gd name="connsiteX3" fmla="*/ 7039430 w 7127629"/>
                <a:gd name="connsiteY3" fmla="*/ 176398 h 176398"/>
                <a:gd name="connsiteX4" fmla="*/ 0 w 7127629"/>
                <a:gd name="connsiteY4" fmla="*/ 176398 h 176398"/>
                <a:gd name="connsiteX5" fmla="*/ 0 w 7127629"/>
                <a:gd name="connsiteY5" fmla="*/ 0 h 176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27629" h="176398">
                  <a:moveTo>
                    <a:pt x="7127629" y="176397"/>
                  </a:moveTo>
                  <a:lnTo>
                    <a:pt x="88199" y="176397"/>
                  </a:lnTo>
                  <a:lnTo>
                    <a:pt x="0" y="88199"/>
                  </a:lnTo>
                  <a:lnTo>
                    <a:pt x="88199" y="1"/>
                  </a:lnTo>
                  <a:lnTo>
                    <a:pt x="7127629" y="1"/>
                  </a:lnTo>
                  <a:lnTo>
                    <a:pt x="7127629" y="176397"/>
                  </a:lnTo>
                  <a:close/>
                </a:path>
              </a:pathLst>
            </a:custGeom>
            <a:noFill/>
            <a:ln>
              <a:noFill/>
            </a:ln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57151" rIns="106680" bIns="57151" numCol="1" spcCol="1270" anchor="ctr" anchorCtr="0">
              <a:noAutofit/>
            </a:bodyPr>
            <a:lstStyle/>
            <a:p>
              <a:pPr marL="0" marR="0" lvl="0" indent="0" algn="l" defTabSz="6667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ommodities Trading</a:t>
              </a:r>
            </a:p>
          </p:txBody>
        </p:sp>
        <p:pic>
          <p:nvPicPr>
            <p:cNvPr id="61" name="Picture 2" descr="Salesman Icon #225852 - Free Icons Library">
              <a:extLst>
                <a:ext uri="{FF2B5EF4-FFF2-40B4-BE49-F238E27FC236}">
                  <a16:creationId xmlns:a16="http://schemas.microsoft.com/office/drawing/2014/main" id="{0616944B-AF77-D26F-05D7-5EB96D755200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6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rightnessContrast contrast="-2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65876" y="4855090"/>
              <a:ext cx="350850" cy="3342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DB660C9E-FE03-1A41-BC5B-92B0AA832C92}"/>
                </a:ext>
              </a:extLst>
            </p:cNvPr>
            <p:cNvSpPr/>
            <p:nvPr/>
          </p:nvSpPr>
          <p:spPr>
            <a:xfrm>
              <a:off x="1764584" y="5036109"/>
              <a:ext cx="2281785" cy="156641"/>
            </a:xfrm>
            <a:custGeom>
              <a:avLst/>
              <a:gdLst>
                <a:gd name="connsiteX0" fmla="*/ 0 w 7127629"/>
                <a:gd name="connsiteY0" fmla="*/ 0 h 176398"/>
                <a:gd name="connsiteX1" fmla="*/ 7039430 w 7127629"/>
                <a:gd name="connsiteY1" fmla="*/ 0 h 176398"/>
                <a:gd name="connsiteX2" fmla="*/ 7127629 w 7127629"/>
                <a:gd name="connsiteY2" fmla="*/ 88199 h 176398"/>
                <a:gd name="connsiteX3" fmla="*/ 7039430 w 7127629"/>
                <a:gd name="connsiteY3" fmla="*/ 176398 h 176398"/>
                <a:gd name="connsiteX4" fmla="*/ 0 w 7127629"/>
                <a:gd name="connsiteY4" fmla="*/ 176398 h 176398"/>
                <a:gd name="connsiteX5" fmla="*/ 0 w 7127629"/>
                <a:gd name="connsiteY5" fmla="*/ 0 h 176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27629" h="176398">
                  <a:moveTo>
                    <a:pt x="7127629" y="176397"/>
                  </a:moveTo>
                  <a:lnTo>
                    <a:pt x="88199" y="176397"/>
                  </a:lnTo>
                  <a:lnTo>
                    <a:pt x="0" y="88199"/>
                  </a:lnTo>
                  <a:lnTo>
                    <a:pt x="88199" y="1"/>
                  </a:lnTo>
                  <a:lnTo>
                    <a:pt x="7127629" y="1"/>
                  </a:lnTo>
                  <a:lnTo>
                    <a:pt x="7127629" y="176397"/>
                  </a:lnTo>
                  <a:close/>
                </a:path>
              </a:pathLst>
            </a:custGeom>
            <a:noFill/>
            <a:ln>
              <a:noFill/>
            </a:ln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57151" rIns="106680" bIns="57151" numCol="1" spcCol="1270" anchor="ctr" anchorCtr="0">
              <a:noAutofit/>
            </a:bodyPr>
            <a:lstStyle/>
            <a:p>
              <a:pPr marL="0" marR="0" lvl="0" indent="0" algn="l" defTabSz="6667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2B Marketing &amp; Sales</a:t>
              </a: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CDA74FDD-1410-9133-997B-A6348265EEC8}"/>
                </a:ext>
              </a:extLst>
            </p:cNvPr>
            <p:cNvSpPr/>
            <p:nvPr/>
          </p:nvSpPr>
          <p:spPr>
            <a:xfrm>
              <a:off x="1764584" y="5315072"/>
              <a:ext cx="2281785" cy="136366"/>
            </a:xfrm>
            <a:custGeom>
              <a:avLst/>
              <a:gdLst>
                <a:gd name="connsiteX0" fmla="*/ 0 w 5209455"/>
                <a:gd name="connsiteY0" fmla="*/ 0 h 220721"/>
                <a:gd name="connsiteX1" fmla="*/ 5099095 w 5209455"/>
                <a:gd name="connsiteY1" fmla="*/ 0 h 220721"/>
                <a:gd name="connsiteX2" fmla="*/ 5209455 w 5209455"/>
                <a:gd name="connsiteY2" fmla="*/ 110361 h 220721"/>
                <a:gd name="connsiteX3" fmla="*/ 5099095 w 5209455"/>
                <a:gd name="connsiteY3" fmla="*/ 220721 h 220721"/>
                <a:gd name="connsiteX4" fmla="*/ 0 w 5209455"/>
                <a:gd name="connsiteY4" fmla="*/ 220721 h 220721"/>
                <a:gd name="connsiteX5" fmla="*/ 0 w 5209455"/>
                <a:gd name="connsiteY5" fmla="*/ 0 h 220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09455" h="220721">
                  <a:moveTo>
                    <a:pt x="5209455" y="220720"/>
                  </a:moveTo>
                  <a:lnTo>
                    <a:pt x="110360" y="220720"/>
                  </a:lnTo>
                  <a:lnTo>
                    <a:pt x="0" y="110360"/>
                  </a:lnTo>
                  <a:lnTo>
                    <a:pt x="110360" y="1"/>
                  </a:lnTo>
                  <a:lnTo>
                    <a:pt x="5209455" y="1"/>
                  </a:lnTo>
                  <a:lnTo>
                    <a:pt x="5209455" y="220720"/>
                  </a:lnTo>
                  <a:close/>
                </a:path>
              </a:pathLst>
            </a:custGeom>
            <a:noFill/>
            <a:ln>
              <a:noFill/>
            </a:ln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57151" rIns="106680" bIns="57151" numCol="1" spcCol="1270" anchor="ctr" anchorCtr="0">
              <a:noAutofit/>
            </a:bodyPr>
            <a:lstStyle/>
            <a:p>
              <a:pPr marL="0" marR="0" lvl="0" indent="0" algn="l" defTabSz="6667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usiness Strategy Consulting</a:t>
              </a: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C136F7C0-1254-1013-1EAA-5B3714F7574E}"/>
                </a:ext>
              </a:extLst>
            </p:cNvPr>
            <p:cNvSpPr/>
            <p:nvPr/>
          </p:nvSpPr>
          <p:spPr>
            <a:xfrm>
              <a:off x="1764584" y="5573758"/>
              <a:ext cx="2281785" cy="136366"/>
            </a:xfrm>
            <a:custGeom>
              <a:avLst/>
              <a:gdLst>
                <a:gd name="connsiteX0" fmla="*/ 0 w 5209455"/>
                <a:gd name="connsiteY0" fmla="*/ 0 h 220721"/>
                <a:gd name="connsiteX1" fmla="*/ 5099095 w 5209455"/>
                <a:gd name="connsiteY1" fmla="*/ 0 h 220721"/>
                <a:gd name="connsiteX2" fmla="*/ 5209455 w 5209455"/>
                <a:gd name="connsiteY2" fmla="*/ 110361 h 220721"/>
                <a:gd name="connsiteX3" fmla="*/ 5099095 w 5209455"/>
                <a:gd name="connsiteY3" fmla="*/ 220721 h 220721"/>
                <a:gd name="connsiteX4" fmla="*/ 0 w 5209455"/>
                <a:gd name="connsiteY4" fmla="*/ 220721 h 220721"/>
                <a:gd name="connsiteX5" fmla="*/ 0 w 5209455"/>
                <a:gd name="connsiteY5" fmla="*/ 0 h 220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09455" h="220721">
                  <a:moveTo>
                    <a:pt x="5209455" y="220720"/>
                  </a:moveTo>
                  <a:lnTo>
                    <a:pt x="110360" y="220720"/>
                  </a:lnTo>
                  <a:lnTo>
                    <a:pt x="0" y="110360"/>
                  </a:lnTo>
                  <a:lnTo>
                    <a:pt x="110360" y="1"/>
                  </a:lnTo>
                  <a:lnTo>
                    <a:pt x="5209455" y="1"/>
                  </a:lnTo>
                  <a:lnTo>
                    <a:pt x="5209455" y="220720"/>
                  </a:lnTo>
                  <a:close/>
                </a:path>
              </a:pathLst>
            </a:custGeom>
            <a:noFill/>
            <a:ln>
              <a:noFill/>
            </a:ln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57151" rIns="106680" bIns="57151" numCol="1" spcCol="1270" anchor="ctr" anchorCtr="0">
              <a:noAutofit/>
            </a:bodyPr>
            <a:lstStyle/>
            <a:p>
              <a:pPr marL="0" marR="0" lvl="0" indent="0" algn="l" defTabSz="6667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orporate Analytics &amp; Reporting</a:t>
              </a: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EB9A2278-30B0-E7CF-8A30-DE1E3F1AA18E}"/>
                </a:ext>
              </a:extLst>
            </p:cNvPr>
            <p:cNvSpPr/>
            <p:nvPr/>
          </p:nvSpPr>
          <p:spPr>
            <a:xfrm>
              <a:off x="1764584" y="5832443"/>
              <a:ext cx="2281785" cy="136366"/>
            </a:xfrm>
            <a:custGeom>
              <a:avLst/>
              <a:gdLst>
                <a:gd name="connsiteX0" fmla="*/ 0 w 5209455"/>
                <a:gd name="connsiteY0" fmla="*/ 0 h 220721"/>
                <a:gd name="connsiteX1" fmla="*/ 5099095 w 5209455"/>
                <a:gd name="connsiteY1" fmla="*/ 0 h 220721"/>
                <a:gd name="connsiteX2" fmla="*/ 5209455 w 5209455"/>
                <a:gd name="connsiteY2" fmla="*/ 110361 h 220721"/>
                <a:gd name="connsiteX3" fmla="*/ 5099095 w 5209455"/>
                <a:gd name="connsiteY3" fmla="*/ 220721 h 220721"/>
                <a:gd name="connsiteX4" fmla="*/ 0 w 5209455"/>
                <a:gd name="connsiteY4" fmla="*/ 220721 h 220721"/>
                <a:gd name="connsiteX5" fmla="*/ 0 w 5209455"/>
                <a:gd name="connsiteY5" fmla="*/ 0 h 220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09455" h="220721">
                  <a:moveTo>
                    <a:pt x="5209455" y="220720"/>
                  </a:moveTo>
                  <a:lnTo>
                    <a:pt x="110360" y="220720"/>
                  </a:lnTo>
                  <a:lnTo>
                    <a:pt x="0" y="110360"/>
                  </a:lnTo>
                  <a:lnTo>
                    <a:pt x="110360" y="1"/>
                  </a:lnTo>
                  <a:lnTo>
                    <a:pt x="5209455" y="1"/>
                  </a:lnTo>
                  <a:lnTo>
                    <a:pt x="5209455" y="220720"/>
                  </a:lnTo>
                  <a:close/>
                </a:path>
              </a:pathLst>
            </a:custGeom>
            <a:noFill/>
            <a:ln>
              <a:noFill/>
            </a:ln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57151" rIns="106680" bIns="57151" numCol="1" spcCol="1270" anchor="ctr" anchorCtr="0">
              <a:noAutofit/>
            </a:bodyPr>
            <a:lstStyle/>
            <a:p>
              <a:pPr marL="0" marR="0" lvl="0" indent="0" algn="l" defTabSz="6667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usiness Intelligence Development</a:t>
              </a:r>
            </a:p>
          </p:txBody>
        </p:sp>
        <p:pic>
          <p:nvPicPr>
            <p:cNvPr id="66" name="Picture 65" descr="A picture containing drawing, window&#10;&#10;Description automatically generated">
              <a:extLst>
                <a:ext uri="{FF2B5EF4-FFF2-40B4-BE49-F238E27FC236}">
                  <a16:creationId xmlns:a16="http://schemas.microsoft.com/office/drawing/2014/main" id="{0FECB2D5-8B28-9FB0-630E-CF628E98E8E2}"/>
                </a:ext>
              </a:extLst>
            </p:cNvPr>
            <p:cNvPicPr>
              <a:picLocks/>
            </p:cNvPicPr>
            <p:nvPr/>
          </p:nvPicPr>
          <p:blipFill>
            <a:blip r:embed="rId18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22669" y="5631510"/>
              <a:ext cx="424853" cy="444424"/>
            </a:xfrm>
            <a:prstGeom prst="rect">
              <a:avLst/>
            </a:prstGeom>
          </p:spPr>
        </p:pic>
        <p:pic>
          <p:nvPicPr>
            <p:cNvPr id="67" name="Picture 2" descr="analytics, chart, diagram, graph, report, reporting, statistics icon">
              <a:extLst>
                <a:ext uri="{FF2B5EF4-FFF2-40B4-BE49-F238E27FC236}">
                  <a16:creationId xmlns:a16="http://schemas.microsoft.com/office/drawing/2014/main" id="{F79CD181-774B-D7CC-9A36-87FDB071130C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65876" y="5302203"/>
              <a:ext cx="350850" cy="3342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8" name="Picture 2" descr="Business, finance, international, man, person, world icon">
              <a:extLst>
                <a:ext uri="{FF2B5EF4-FFF2-40B4-BE49-F238E27FC236}">
                  <a16:creationId xmlns:a16="http://schemas.microsoft.com/office/drawing/2014/main" id="{B793B7B6-FB15-D61F-DCE3-1F6ABA0E125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BEBA8EAE-BF5A-486C-A8C5-ECC9F3942E4B}">
                  <a14:imgProps xmlns:a14="http://schemas.microsoft.com/office/drawing/2010/main">
                    <a14:imgLayer r:embed="rId21">
                      <a14:imgEffect>
                        <a14:brightnessContrast contrast="-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4148" y="4411601"/>
              <a:ext cx="350850" cy="3342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81" name="Picture 80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AA36E0F5-E69D-B932-B1EE-53E94760D2C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4387" y="6171733"/>
            <a:ext cx="1580780" cy="686267"/>
          </a:xfrm>
          <a:prstGeom prst="rect">
            <a:avLst/>
          </a:prstGeom>
        </p:spPr>
      </p:pic>
      <p:sp>
        <p:nvSpPr>
          <p:cNvPr id="9" name="Rectangle 13">
            <a:extLst>
              <a:ext uri="{FF2B5EF4-FFF2-40B4-BE49-F238E27FC236}">
                <a16:creationId xmlns:a16="http://schemas.microsoft.com/office/drawing/2014/main" id="{9915073E-4AA8-9F97-DB75-A34185A169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26015" y="6965717"/>
            <a:ext cx="1802751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88BB">
                  <a:lumMod val="75000"/>
                </a:srgbClr>
              </a:buClr>
              <a:buSzTx/>
              <a:buFont typeface="Arial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Healthcare Services</a:t>
            </a:r>
          </a:p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88BB">
                  <a:lumMod val="75000"/>
                </a:srgbClr>
              </a:buClr>
              <a:buSzTx/>
              <a:buFont typeface="Arial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ternet Services</a:t>
            </a:r>
          </a:p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88BB">
                  <a:lumMod val="75000"/>
                </a:srgbClr>
              </a:buClr>
              <a:buSzTx/>
              <a:buFont typeface="Arial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-Flight Entertainment</a:t>
            </a:r>
          </a:p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88BB">
                  <a:lumMod val="75000"/>
                </a:srgbClr>
              </a:buClr>
              <a:buSzTx/>
              <a:buFont typeface="Arial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edical Products </a:t>
            </a:r>
          </a:p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88BB">
                  <a:lumMod val="75000"/>
                </a:srgbClr>
              </a:buClr>
              <a:buSzTx/>
              <a:buFont typeface="Arial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ife Sciences </a:t>
            </a:r>
          </a:p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88BB">
                  <a:lumMod val="75000"/>
                </a:srgbClr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mmodities Trading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88BB">
                  <a:lumMod val="75000"/>
                </a:srgbClr>
              </a:buClr>
              <a:buSzTx/>
              <a:buFont typeface="Arial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hemical Manufacturing</a:t>
            </a:r>
          </a:p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88BB">
                  <a:lumMod val="75000"/>
                </a:srgbClr>
              </a:buClr>
              <a:buSzTx/>
              <a:buFont typeface="Arial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dustrial Distribution</a:t>
            </a:r>
          </a:p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88BB">
                  <a:lumMod val="75000"/>
                </a:srgbClr>
              </a:buClr>
              <a:buSzTx/>
              <a:buFont typeface="Arial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gistics &amp; Supply Chain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69AC9FE8-BF04-B1A1-856D-C3ECBDBC89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9151" y="7038813"/>
            <a:ext cx="2635814" cy="10541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marL="91440" marR="0" lvl="0" indent="-91440" algn="l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ts val="200"/>
              </a:spcAft>
              <a:buClr>
                <a:srgbClr val="6688BB">
                  <a:lumMod val="75000"/>
                </a:srgbClr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usiness Planning &amp; Strategy</a:t>
            </a:r>
          </a:p>
          <a:p>
            <a:pPr marL="91440" marR="0" lvl="0" indent="-91440" algn="l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ts val="200"/>
              </a:spcAft>
              <a:buClr>
                <a:srgbClr val="6688BB">
                  <a:lumMod val="75000"/>
                </a:srgbClr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rketing &amp; Sales Management</a:t>
            </a:r>
          </a:p>
          <a:p>
            <a:pPr marL="91440" marR="0" lvl="0" indent="-91440" algn="l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ts val="200"/>
              </a:spcAft>
              <a:buClr>
                <a:srgbClr val="6688BB">
                  <a:lumMod val="75000"/>
                </a:srgbClr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lanning, Budgeting &amp; Forecasting</a:t>
            </a:r>
          </a:p>
          <a:p>
            <a:pPr marL="91440" marR="0" lvl="0" indent="-91440" algn="l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ts val="200"/>
              </a:spcAft>
              <a:buClr>
                <a:srgbClr val="6688BB">
                  <a:lumMod val="75000"/>
                </a:srgbClr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hannel &amp; Pricing Management</a:t>
            </a:r>
          </a:p>
          <a:p>
            <a:pPr marL="91440" marR="0" lvl="0" indent="-91440" algn="l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ts val="200"/>
              </a:spcAft>
              <a:buClr>
                <a:srgbClr val="6688BB">
                  <a:lumMod val="75000"/>
                </a:srgbClr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ampaign &amp; Funnel Analytics</a:t>
            </a:r>
          </a:p>
        </p:txBody>
      </p:sp>
      <p:sp>
        <p:nvSpPr>
          <p:cNvPr id="22" name="Rectangle 17">
            <a:extLst>
              <a:ext uri="{FF2B5EF4-FFF2-40B4-BE49-F238E27FC236}">
                <a16:creationId xmlns:a16="http://schemas.microsoft.com/office/drawing/2014/main" id="{E2D930EA-AA1A-6C01-EBD1-5593D2E085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9121" y="3788460"/>
            <a:ext cx="3139188" cy="336811"/>
          </a:xfrm>
          <a:prstGeom prst="roundRect">
            <a:avLst/>
          </a:prstGeom>
          <a:solidFill>
            <a:schemeClr val="accent6">
              <a:alpha val="75000"/>
            </a:schemeClr>
          </a:solidFill>
          <a:ln w="3175" algn="ctr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195263" marR="0" lvl="0" indent="-195263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Career Evolution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EE31CF6-4C07-2F54-2FF7-BED26DB86800}"/>
              </a:ext>
            </a:extLst>
          </p:cNvPr>
          <p:cNvGrpSpPr/>
          <p:nvPr/>
        </p:nvGrpSpPr>
        <p:grpSpPr>
          <a:xfrm>
            <a:off x="5327640" y="1188180"/>
            <a:ext cx="6497987" cy="4843801"/>
            <a:chOff x="5243831" y="1062345"/>
            <a:chExt cx="6497987" cy="4843801"/>
          </a:xfrm>
        </p:grpSpPr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827C1CF2-D841-9180-767F-A4C984722910}"/>
                </a:ext>
              </a:extLst>
            </p:cNvPr>
            <p:cNvSpPr/>
            <p:nvPr/>
          </p:nvSpPr>
          <p:spPr>
            <a:xfrm>
              <a:off x="5243831" y="1400961"/>
              <a:ext cx="5828390" cy="4505185"/>
            </a:xfrm>
            <a:prstGeom prst="roundRect">
              <a:avLst>
                <a:gd name="adj" fmla="val 3017"/>
              </a:avLst>
            </a:prstGeom>
            <a:solidFill>
              <a:schemeClr val="accent1">
                <a:lumMod val="20000"/>
                <a:lumOff val="80000"/>
                <a:alpha val="20000"/>
              </a:schemeClr>
            </a:solidFill>
            <a:ln w="19050"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Rectangle 17">
              <a:extLst>
                <a:ext uri="{FF2B5EF4-FFF2-40B4-BE49-F238E27FC236}">
                  <a16:creationId xmlns:a16="http://schemas.microsoft.com/office/drawing/2014/main" id="{7792A276-DEE1-46A6-D773-450BB58962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50550" y="2165852"/>
              <a:ext cx="2950706" cy="377455"/>
            </a:xfrm>
            <a:prstGeom prst="homePlate">
              <a:avLst/>
            </a:prstGeom>
            <a:solidFill>
              <a:srgbClr val="0070C0">
                <a:alpha val="79000"/>
              </a:srgb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195263" marR="0" lvl="0" indent="-195263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  Bridging the Business and the </a:t>
              </a:r>
            </a:p>
          </p:txBody>
        </p:sp>
        <p:sp>
          <p:nvSpPr>
            <p:cNvPr id="8" name="Rectangle 18">
              <a:extLst>
                <a:ext uri="{FF2B5EF4-FFF2-40B4-BE49-F238E27FC236}">
                  <a16:creationId xmlns:a16="http://schemas.microsoft.com/office/drawing/2014/main" id="{7EB19EC5-F3D0-1377-5688-4EACDD8CB8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3839" y="3812354"/>
              <a:ext cx="5044337" cy="1090449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9933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10+ years of Business Intelligence, Analytics &amp; Reporting</a:t>
              </a:r>
            </a:p>
            <a:p>
              <a:pPr marL="628650" marR="0" lvl="1" indent="-171450" algn="l" defTabSz="914400" rtl="0" eaLnBrk="0" fontAlgn="base" latinLnBrk="0" hangingPunct="0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339933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Data Engineering, Data Modeling &amp; Governance</a:t>
              </a:r>
            </a:p>
            <a:p>
              <a:pPr marL="628650" marR="0" lvl="1" indent="-171450" algn="l" defTabSz="914400" rtl="0" eaLnBrk="0" fontAlgn="base" latinLnBrk="0" hangingPunct="0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339933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Enterprise Reporting, Dashboard Design &amp; Data Visualization</a:t>
              </a:r>
            </a:p>
            <a:p>
              <a:pPr marL="628650" marR="0" lvl="1" indent="-171450" algn="l" defTabSz="914400" rtl="0" eaLnBrk="0" fontAlgn="base" latinLnBrk="0" hangingPunct="0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339933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Power BI SME</a:t>
              </a:r>
            </a:p>
            <a:p>
              <a:pPr marL="628650" marR="0" lvl="1" indent="-171450" algn="l" defTabSz="914400" rtl="0" eaLnBrk="0" fontAlgn="base" latinLnBrk="0" hangingPunct="0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339933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endParaRPr>
            </a:p>
            <a:p>
              <a:pPr marL="628650" marR="0" lvl="1" indent="-171450" algn="l" defTabSz="914400" rtl="0" eaLnBrk="0" fontAlgn="base" latinLnBrk="0" hangingPunct="0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339933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endParaRPr>
            </a:p>
            <a:p>
              <a:pPr marL="628650" marR="0" lvl="1" indent="-171450" algn="l" defTabSz="914400" rtl="0" eaLnBrk="0" fontAlgn="base" latinLnBrk="0" hangingPunct="0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339933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endParaRPr>
            </a:p>
            <a:p>
              <a:pPr marL="457200" marR="0" lvl="1" indent="0" algn="l" defTabSz="914400" rtl="0" eaLnBrk="0" fontAlgn="base" latinLnBrk="0" hangingPunct="0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339933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	             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MCSE - Data Management &amp; Analytics</a:t>
              </a:r>
            </a:p>
            <a:p>
              <a:pPr marL="628650" marR="0" lvl="1" indent="-171450" algn="l" defTabSz="914400" rtl="0" eaLnBrk="0" fontAlgn="base" latinLnBrk="0" hangingPunct="0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339933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endParaRPr>
            </a:p>
          </p:txBody>
        </p:sp>
        <p:pic>
          <p:nvPicPr>
            <p:cNvPr id="1030" name="Picture 6" descr="Man Doing Side Split Silhouette PNG &amp; SVG Design For T-Shirts">
              <a:extLst>
                <a:ext uri="{FF2B5EF4-FFF2-40B4-BE49-F238E27FC236}">
                  <a16:creationId xmlns:a16="http://schemas.microsoft.com/office/drawing/2014/main" id="{B333C889-DBA3-30F4-7098-E96D61FF2B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>
              <a:grayscl/>
              <a:extLst>
                <a:ext uri="{BEBA8EAE-BF5A-486C-A8C5-ECC9F3942E4B}">
                  <a14:imgProps xmlns:a14="http://schemas.microsoft.com/office/drawing/2010/main">
                    <a14:imgLayer r:embed="rId24">
                      <a14:imgEffect>
                        <a14:sharpenSoften amount="100000"/>
                      </a14:imgEffect>
                      <a14:imgEffect>
                        <a14:colorTemperature colorTemp="1500"/>
                      </a14:imgEffect>
                      <a14:imgEffect>
                        <a14:saturation sat="399000"/>
                      </a14:imgEffect>
                      <a14:imgEffect>
                        <a14:brightnessContrast bright="56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91997" y="1062345"/>
              <a:ext cx="1718309" cy="1652735"/>
            </a:xfrm>
            <a:prstGeom prst="rect">
              <a:avLst/>
            </a:prstGeom>
            <a:noFill/>
            <a:scene3d>
              <a:camera prst="orthographicFront">
                <a:rot lat="21599971" lon="299984" rev="0"/>
              </a:camera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Rectangle 17">
              <a:extLst>
                <a:ext uri="{FF2B5EF4-FFF2-40B4-BE49-F238E27FC236}">
                  <a16:creationId xmlns:a16="http://schemas.microsoft.com/office/drawing/2014/main" id="{15899A00-3009-CDBA-C4D9-5C7199CF9A9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395586">
              <a:off x="8486727" y="2173578"/>
              <a:ext cx="558528" cy="377455"/>
            </a:xfrm>
            <a:prstGeom prst="chevron">
              <a:avLst/>
            </a:prstGeom>
            <a:solidFill>
              <a:srgbClr val="0070C0">
                <a:alpha val="79000"/>
              </a:srgb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195263" marR="0" lvl="0" indent="-195263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IT</a:t>
              </a:r>
            </a:p>
          </p:txBody>
        </p:sp>
        <p:sp>
          <p:nvSpPr>
            <p:cNvPr id="23" name="Rectangle 18">
              <a:extLst>
                <a:ext uri="{FF2B5EF4-FFF2-40B4-BE49-F238E27FC236}">
                  <a16:creationId xmlns:a16="http://schemas.microsoft.com/office/drawing/2014/main" id="{F6D95B61-A8E8-FCA1-2431-1E3C96B119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1721" y="2850905"/>
              <a:ext cx="6030097" cy="280482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9933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15+ years of functional business experience </a:t>
              </a:r>
            </a:p>
            <a:p>
              <a:pPr marL="628650" marR="0" lvl="1" indent="-171450" algn="l" defTabSz="914400" rtl="0" eaLnBrk="0" fontAlgn="base" latinLnBrk="0" hangingPunct="0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339933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Marketing, Sales and Operations Management </a:t>
              </a:r>
            </a:p>
            <a:p>
              <a:pPr marL="628650" marR="0" lvl="1" indent="-171450" algn="l" defTabSz="914400" rtl="0" eaLnBrk="0" fontAlgn="base" latinLnBrk="0" hangingPunct="0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339933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In Technical, B2B and data-intensive environments</a:t>
              </a:r>
            </a:p>
            <a:p>
              <a:pPr marL="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9933"/>
                </a:buClr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9933"/>
                </a:buClr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9933"/>
                </a:buClr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9933"/>
                </a:buClr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9933"/>
                </a:buClr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9933"/>
                </a:buClr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9933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Georgetown University MBA</a:t>
              </a:r>
            </a:p>
          </p:txBody>
        </p:sp>
        <p:sp>
          <p:nvSpPr>
            <p:cNvPr id="2" name="Rectangle 17">
              <a:extLst>
                <a:ext uri="{FF2B5EF4-FFF2-40B4-BE49-F238E27FC236}">
                  <a16:creationId xmlns:a16="http://schemas.microsoft.com/office/drawing/2014/main" id="{2E9C06AA-D455-2BEF-CE9E-657F11B807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79906" y="2166709"/>
              <a:ext cx="1341432" cy="377455"/>
            </a:xfrm>
            <a:prstGeom prst="chevron">
              <a:avLst/>
            </a:prstGeom>
            <a:solidFill>
              <a:srgbClr val="0070C0">
                <a:alpha val="79000"/>
              </a:srgb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195263" marR="0" lvl="0" indent="-195263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 func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354599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039E469-AF41-4E5B-85E8-D16D0DC8088A}"/>
              </a:ext>
            </a:extLst>
          </p:cNvPr>
          <p:cNvSpPr txBox="1"/>
          <p:nvPr/>
        </p:nvSpPr>
        <p:spPr>
          <a:xfrm>
            <a:off x="718934" y="1274041"/>
            <a:ext cx="7661637" cy="92025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Power BI generates date hierarchies when dates are added to visuals</a:t>
            </a:r>
          </a:p>
          <a:p>
            <a:pPr marL="640080" lvl="1" indent="-27432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80000"/>
              <a:buFont typeface="Courier New" panose="02070309020205020404" pitchFamily="49" charset="0"/>
              <a:buChar char="o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End user can then drill from Year, Quarter, Month to Day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CAF15BD-079C-4451-9B45-3E4DA321D4EB}"/>
              </a:ext>
            </a:extLst>
          </p:cNvPr>
          <p:cNvSpPr txBox="1"/>
          <p:nvPr/>
        </p:nvSpPr>
        <p:spPr>
          <a:xfrm>
            <a:off x="83820" y="6576060"/>
            <a:ext cx="2019300" cy="281940"/>
          </a:xfrm>
          <a:prstGeom prst="rect">
            <a:avLst/>
          </a:prstGeom>
          <a:solidFill>
            <a:schemeClr val="bg1"/>
          </a:solidFill>
        </p:spPr>
        <p:txBody>
          <a:bodyPr wrap="square" lIns="182880" tIns="146304" rIns="182880" bIns="146304" rtlCol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8CA59B-9C0F-33F0-9C5D-3BC685EF3F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Hierarchies</a:t>
            </a:r>
            <a:b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3200" dirty="0">
              <a:solidFill>
                <a:schemeClr val="tx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1B0006B-09EF-C730-7EDD-BF9D132C634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08" r="-1508"/>
          <a:stretch/>
        </p:blipFill>
        <p:spPr>
          <a:xfrm>
            <a:off x="7359090" y="2540462"/>
            <a:ext cx="4691035" cy="391198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3010473-32D2-EA90-EA75-0E4F0F666AD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152" t="580" r="6600" b="-580"/>
          <a:stretch/>
        </p:blipFill>
        <p:spPr>
          <a:xfrm>
            <a:off x="10523718" y="3563740"/>
            <a:ext cx="1526407" cy="231036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7158A46-A6B7-A7B2-B0D8-CE18FD6515B7}"/>
              </a:ext>
            </a:extLst>
          </p:cNvPr>
          <p:cNvSpPr txBox="1"/>
          <p:nvPr/>
        </p:nvSpPr>
        <p:spPr>
          <a:xfrm>
            <a:off x="718934" y="2322713"/>
            <a:ext cx="6303659" cy="2816156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indent="-342900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Custom hierarchies can be created by right clicking on each hierarchy item in the right most pane of each views.</a:t>
            </a:r>
          </a:p>
          <a:p>
            <a:pPr marL="342900" indent="-342900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Creating and especially modifying a hierarchy in the Model View is highly recommended</a:t>
            </a:r>
          </a:p>
          <a:p>
            <a:pPr marL="640080" lvl="1" indent="-274320">
              <a:spcBef>
                <a:spcPts val="600"/>
              </a:spcBef>
              <a:spcAft>
                <a:spcPts val="600"/>
              </a:spcAft>
              <a:buSzPct val="80000"/>
              <a:buFont typeface="Courier New" panose="02070309020205020404" pitchFamily="49" charset="0"/>
              <a:buChar char="o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Hierarchy can be surfaced and created both in the Data pane and within each tables of the model</a:t>
            </a:r>
          </a:p>
          <a:p>
            <a:pPr marL="640080" lvl="1" indent="-274320">
              <a:spcBef>
                <a:spcPts val="600"/>
              </a:spcBef>
              <a:spcAft>
                <a:spcPts val="600"/>
              </a:spcAft>
              <a:buSzPct val="80000"/>
              <a:buFont typeface="Courier New" panose="02070309020205020404" pitchFamily="49" charset="0"/>
              <a:buChar char="o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The Hierarchy menu in the properties pane of the Model view greatly facilitates the task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1DA023E-0610-AC1E-8BD7-642EF2B29C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59090" y="1892927"/>
            <a:ext cx="4637838" cy="692339"/>
          </a:xfrm>
          <a:prstGeom prst="rect">
            <a:avLst/>
          </a:prstGeom>
        </p:spPr>
      </p:pic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B2457C94-20AF-EA9A-784E-E78282051219}"/>
              </a:ext>
            </a:extLst>
          </p:cNvPr>
          <p:cNvSpPr/>
          <p:nvPr/>
        </p:nvSpPr>
        <p:spPr>
          <a:xfrm>
            <a:off x="7359090" y="1946093"/>
            <a:ext cx="965607" cy="438567"/>
          </a:xfrm>
          <a:prstGeom prst="roundRect">
            <a:avLst/>
          </a:prstGeom>
          <a:noFill/>
          <a:ln w="28575">
            <a:solidFill>
              <a:srgbClr val="FF000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95E8BED6-D6C5-7B13-91CF-B34A4476E814}"/>
              </a:ext>
            </a:extLst>
          </p:cNvPr>
          <p:cNvSpPr/>
          <p:nvPr/>
        </p:nvSpPr>
        <p:spPr>
          <a:xfrm>
            <a:off x="9610954" y="1892927"/>
            <a:ext cx="820522" cy="403166"/>
          </a:xfrm>
          <a:prstGeom prst="roundRect">
            <a:avLst/>
          </a:prstGeom>
          <a:noFill/>
          <a:ln w="28575">
            <a:solidFill>
              <a:srgbClr val="FF000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8670A5A2-6B33-5EED-6C2D-9B543E0F1C81}"/>
              </a:ext>
            </a:extLst>
          </p:cNvPr>
          <p:cNvSpPr/>
          <p:nvPr/>
        </p:nvSpPr>
        <p:spPr>
          <a:xfrm>
            <a:off x="10501773" y="3563740"/>
            <a:ext cx="1063558" cy="403166"/>
          </a:xfrm>
          <a:prstGeom prst="roundRect">
            <a:avLst/>
          </a:prstGeom>
          <a:noFill/>
          <a:ln w="28575">
            <a:solidFill>
              <a:srgbClr val="FF000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96B82001-C44B-CD42-5676-0092BAD9ACBD}"/>
              </a:ext>
            </a:extLst>
          </p:cNvPr>
          <p:cNvSpPr/>
          <p:nvPr/>
        </p:nvSpPr>
        <p:spPr>
          <a:xfrm>
            <a:off x="7359090" y="4517339"/>
            <a:ext cx="2251864" cy="1935112"/>
          </a:xfrm>
          <a:prstGeom prst="roundRect">
            <a:avLst/>
          </a:prstGeom>
          <a:noFill/>
          <a:ln w="28575">
            <a:solidFill>
              <a:srgbClr val="FF000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9554321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26F25FA-D9EC-4577-8924-DC535B2DF889}"/>
              </a:ext>
            </a:extLst>
          </p:cNvPr>
          <p:cNvSpPr txBox="1"/>
          <p:nvPr/>
        </p:nvSpPr>
        <p:spPr>
          <a:xfrm>
            <a:off x="472965" y="524782"/>
            <a:ext cx="611702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2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ort By Colum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CB2A155-9692-4588-9930-1192B4176CB7}"/>
              </a:ext>
            </a:extLst>
          </p:cNvPr>
          <p:cNvSpPr txBox="1"/>
          <p:nvPr/>
        </p:nvSpPr>
        <p:spPr>
          <a:xfrm>
            <a:off x="662847" y="2028011"/>
            <a:ext cx="6184179" cy="2111347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latin typeface="Segoe UI Light" panose="020B0502040204020203" pitchFamily="34" charset="0"/>
                <a:cs typeface="Segoe UI Light" panose="020B0502040204020203" pitchFamily="34" charset="0"/>
              </a:rPr>
              <a:t>Enable sorting one text field by another (numeric) field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latin typeface="Segoe UI Light" panose="020B0502040204020203" pitchFamily="34" charset="0"/>
                <a:cs typeface="Segoe UI Light" panose="020B0502040204020203" pitchFamily="34" charset="0"/>
              </a:rPr>
              <a:t>Both columns must have the same number of distinct values</a:t>
            </a:r>
            <a:endParaRPr lang="en-US" sz="20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854047B-3F91-4A98-8CE1-BBF2E14406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5846" y="1717152"/>
            <a:ext cx="3098959" cy="281319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60026CD-4FC0-4201-A93D-3B4F0A44FBC1}"/>
              </a:ext>
            </a:extLst>
          </p:cNvPr>
          <p:cNvSpPr txBox="1"/>
          <p:nvPr/>
        </p:nvSpPr>
        <p:spPr>
          <a:xfrm>
            <a:off x="83820" y="6576060"/>
            <a:ext cx="2019300" cy="281940"/>
          </a:xfrm>
          <a:prstGeom prst="rect">
            <a:avLst/>
          </a:prstGeom>
          <a:solidFill>
            <a:schemeClr val="bg1"/>
          </a:solidFill>
        </p:spPr>
        <p:txBody>
          <a:bodyPr wrap="square" lIns="182880" tIns="146304" rIns="182880" bIns="146304" rtlCol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3164625-CCF2-E406-3944-0BFC905DA1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defTabSz="9142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ort By Column</a:t>
            </a:r>
          </a:p>
        </p:txBody>
      </p:sp>
    </p:spTree>
    <p:extLst>
      <p:ext uri="{BB962C8B-B14F-4D97-AF65-F5344CB8AC3E}">
        <p14:creationId xmlns:p14="http://schemas.microsoft.com/office/powerpoint/2010/main" val="2511696071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26F25FA-D9EC-4577-8924-DC535B2DF889}"/>
              </a:ext>
            </a:extLst>
          </p:cNvPr>
          <p:cNvSpPr txBox="1"/>
          <p:nvPr/>
        </p:nvSpPr>
        <p:spPr>
          <a:xfrm>
            <a:off x="472965" y="524782"/>
            <a:ext cx="611702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2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ggregation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64E4569-1B65-4909-8236-5DC6818EF918}"/>
              </a:ext>
            </a:extLst>
          </p:cNvPr>
          <p:cNvSpPr txBox="1"/>
          <p:nvPr/>
        </p:nvSpPr>
        <p:spPr>
          <a:xfrm>
            <a:off x="580503" y="1377841"/>
            <a:ext cx="10838524" cy="3139321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latin typeface="Segoe UI Light" panose="020B0502040204020203" pitchFamily="34" charset="0"/>
                <a:cs typeface="Segoe UI Light" panose="020B0502040204020203" pitchFamily="34" charset="0"/>
              </a:rPr>
              <a:t>Using aggregations in Power BI enables interactive analysis over big data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latin typeface="Segoe UI Light" panose="020B0502040204020203" pitchFamily="34" charset="0"/>
                <a:cs typeface="Segoe UI Light" panose="020B0502040204020203" pitchFamily="34" charset="0"/>
              </a:rPr>
              <a:t>Advantages of aggregations are:</a:t>
            </a:r>
          </a:p>
          <a:p>
            <a:pPr marL="800100" lvl="1" indent="-342900">
              <a:spcBef>
                <a:spcPts val="600"/>
              </a:spcBef>
              <a:buSzPct val="80000"/>
              <a:buFont typeface="Courier New" panose="02070309020205020404" pitchFamily="49" charset="0"/>
              <a:buChar char="o"/>
            </a:pPr>
            <a:r>
              <a:rPr lang="en-US" sz="2400" dirty="0">
                <a:latin typeface="Segoe UI Light" panose="020B0502040204020203" pitchFamily="34" charset="0"/>
                <a:cs typeface="Segoe UI Light" panose="020B0502040204020203" pitchFamily="34" charset="0"/>
              </a:rPr>
              <a:t>Query performance over big data</a:t>
            </a:r>
          </a:p>
          <a:p>
            <a:pPr marL="800100" lvl="1" indent="-342900">
              <a:spcBef>
                <a:spcPts val="600"/>
              </a:spcBef>
              <a:buSzPct val="80000"/>
              <a:buFont typeface="Courier New" panose="02070309020205020404" pitchFamily="49" charset="0"/>
              <a:buChar char="o"/>
            </a:pPr>
            <a:r>
              <a:rPr lang="en-US" sz="2400" dirty="0">
                <a:latin typeface="Segoe UI Light" panose="020B0502040204020203" pitchFamily="34" charset="0"/>
                <a:cs typeface="Segoe UI Light" panose="020B0502040204020203" pitchFamily="34" charset="0"/>
              </a:rPr>
              <a:t>Data refresh optimization</a:t>
            </a:r>
          </a:p>
          <a:p>
            <a:pPr marL="800100" lvl="1" indent="-342900">
              <a:spcBef>
                <a:spcPts val="600"/>
              </a:spcBef>
              <a:buSzPct val="80000"/>
              <a:buFont typeface="Courier New" panose="02070309020205020404" pitchFamily="49" charset="0"/>
              <a:buChar char="o"/>
            </a:pPr>
            <a:r>
              <a:rPr lang="en-US" sz="2400" dirty="0">
                <a:latin typeface="Segoe UI Light" panose="020B0502040204020203" pitchFamily="34" charset="0"/>
                <a:cs typeface="Segoe UI Light" panose="020B0502040204020203" pitchFamily="34" charset="0"/>
              </a:rPr>
              <a:t>Achieve balanced architectures</a:t>
            </a:r>
          </a:p>
          <a:p>
            <a:pPr marL="800100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b="1" dirty="0">
              <a:solidFill>
                <a:srgbClr val="00B0F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EF6FD61-9DF6-41BD-97DF-4B83D210DE35}"/>
              </a:ext>
            </a:extLst>
          </p:cNvPr>
          <p:cNvSpPr txBox="1"/>
          <p:nvPr/>
        </p:nvSpPr>
        <p:spPr>
          <a:xfrm>
            <a:off x="83820" y="6576060"/>
            <a:ext cx="2019300" cy="281940"/>
          </a:xfrm>
          <a:prstGeom prst="rect">
            <a:avLst/>
          </a:prstGeom>
          <a:solidFill>
            <a:schemeClr val="bg1"/>
          </a:solidFill>
        </p:spPr>
        <p:txBody>
          <a:bodyPr wrap="square" lIns="182880" tIns="146304" rIns="182880" bIns="146304" rtlCol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9F8A3B0-454A-A01E-5494-6650D87B53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ggregations</a:t>
            </a:r>
            <a:b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F24D9C1-2EB2-6B11-5D0F-72E161BB70CD}"/>
              </a:ext>
            </a:extLst>
          </p:cNvPr>
          <p:cNvSpPr txBox="1"/>
          <p:nvPr/>
        </p:nvSpPr>
        <p:spPr>
          <a:xfrm>
            <a:off x="7918705" y="6268283"/>
            <a:ext cx="338845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hlinkClick r:id="rId3"/>
              </a:rPr>
              <a:t>User-defined aggregations - Power BI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249672191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47C03D-4EE7-5C3E-845B-DBDED40F8D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25115" y="2012223"/>
            <a:ext cx="4548068" cy="889539"/>
          </a:xfrm>
        </p:spPr>
        <p:txBody>
          <a:bodyPr/>
          <a:lstStyle/>
          <a:p>
            <a:r>
              <a:rPr lang="en-US" sz="4400" dirty="0"/>
              <a:t>Module 1 Lab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32B3B18-CA76-BE76-AFCE-465201C6BCE8}"/>
              </a:ext>
            </a:extLst>
          </p:cNvPr>
          <p:cNvGrpSpPr/>
          <p:nvPr/>
        </p:nvGrpSpPr>
        <p:grpSpPr>
          <a:xfrm>
            <a:off x="3825115" y="516429"/>
            <a:ext cx="4548068" cy="1062152"/>
            <a:chOff x="3825115" y="516429"/>
            <a:chExt cx="4548068" cy="1062152"/>
          </a:xfrm>
        </p:grpSpPr>
        <p:sp>
          <p:nvSpPr>
            <p:cNvPr id="4" name="Text Placeholder 1">
              <a:extLst>
                <a:ext uri="{FF2B5EF4-FFF2-40B4-BE49-F238E27FC236}">
                  <a16:creationId xmlns:a16="http://schemas.microsoft.com/office/drawing/2014/main" id="{F4539750-96A4-88EE-715A-7B20B75D2B4D}"/>
                </a:ext>
              </a:extLst>
            </p:cNvPr>
            <p:cNvSpPr txBox="1">
              <a:spLocks/>
            </p:cNvSpPr>
            <p:nvPr/>
          </p:nvSpPr>
          <p:spPr>
            <a:xfrm>
              <a:off x="4709287" y="516429"/>
              <a:ext cx="1570601" cy="498598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2400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5" name="Title 3">
              <a:extLst>
                <a:ext uri="{FF2B5EF4-FFF2-40B4-BE49-F238E27FC236}">
                  <a16:creationId xmlns:a16="http://schemas.microsoft.com/office/drawing/2014/main" id="{0CD3071C-EF9A-160C-193E-CD22B9307112}"/>
                </a:ext>
              </a:extLst>
            </p:cNvPr>
            <p:cNvSpPr txBox="1">
              <a:spLocks/>
            </p:cNvSpPr>
            <p:nvPr/>
          </p:nvSpPr>
          <p:spPr>
            <a:xfrm>
              <a:off x="4444791" y="1015027"/>
              <a:ext cx="3928392" cy="4985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cap="none" dirty="0">
                  <a:solidFill>
                    <a:srgbClr val="FED112"/>
                  </a:solidFill>
                </a:rPr>
                <a:t>Power BI </a:t>
              </a:r>
              <a:r>
                <a:rPr lang="en-US" sz="2800" cap="none" dirty="0">
                  <a:solidFill>
                    <a:schemeClr val="tx1"/>
                  </a:solidFill>
                </a:rPr>
                <a:t>Training</a:t>
              </a:r>
              <a:endParaRPr lang="en-US" sz="2800" dirty="0">
                <a:solidFill>
                  <a:schemeClr val="tx1"/>
                </a:solidFill>
              </a:endParaRPr>
            </a:p>
          </p:txBody>
        </p:sp>
        <p:pic>
          <p:nvPicPr>
            <p:cNvPr id="6" name="Picture 5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F1C8179E-833E-6A63-9CD8-006084751C6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25115" y="950072"/>
              <a:ext cx="943368" cy="628509"/>
            </a:xfrm>
            <a:prstGeom prst="rect">
              <a:avLst/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770D531B-17F7-CE7D-B44E-1E90CA27BB27}"/>
              </a:ext>
            </a:extLst>
          </p:cNvPr>
          <p:cNvSpPr txBox="1"/>
          <p:nvPr/>
        </p:nvSpPr>
        <p:spPr>
          <a:xfrm>
            <a:off x="4371441" y="3248353"/>
            <a:ext cx="362407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AutoNum type="arabicPeriod"/>
            </a:pPr>
            <a:r>
              <a:rPr lang="en-US" sz="2000" dirty="0">
                <a:solidFill>
                  <a:schemeClr val="bg1"/>
                </a:solidFill>
                <a:ea typeface="ＭＳ Ｐゴシック"/>
                <a:cs typeface="Segoe UI"/>
              </a:rPr>
              <a:t>Lab 1a – Import Data</a:t>
            </a:r>
          </a:p>
          <a:p>
            <a:pPr marL="457200" indent="-457200">
              <a:buAutoNum type="arabicPeriod"/>
            </a:pPr>
            <a:r>
              <a:rPr lang="en-US" sz="2000" dirty="0">
                <a:solidFill>
                  <a:schemeClr val="bg1"/>
                </a:solidFill>
                <a:ea typeface="ＭＳ Ｐゴシック"/>
                <a:cs typeface="Segoe UI"/>
              </a:rPr>
              <a:t>Lab 1b – Create Parameter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1017357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6566A0-9C80-E89C-14C8-4C39C185E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3356" y="2360165"/>
            <a:ext cx="2590799" cy="498598"/>
          </a:xfrm>
        </p:spPr>
        <p:txBody>
          <a:bodyPr/>
          <a:lstStyle/>
          <a:p>
            <a:r>
              <a:rPr lang="en-US" cap="none" dirty="0">
                <a:latin typeface="Segoe UI Semibold" panose="020B0702040204020203" pitchFamily="34" charset="0"/>
              </a:rPr>
              <a:t>Module 2</a:t>
            </a:r>
            <a:endParaRPr lang="en-US" cap="non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47C03D-4EE7-5C3E-845B-DBDED40F8D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25115" y="2858763"/>
            <a:ext cx="4548068" cy="1905202"/>
          </a:xfrm>
        </p:spPr>
        <p:txBody>
          <a:bodyPr/>
          <a:lstStyle/>
          <a:p>
            <a:r>
              <a:rPr lang="en-US" sz="4400" dirty="0"/>
              <a:t>Data Modeling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364D75B-1B87-5687-157F-0CA8F48133D7}"/>
              </a:ext>
            </a:extLst>
          </p:cNvPr>
          <p:cNvGrpSpPr/>
          <p:nvPr/>
        </p:nvGrpSpPr>
        <p:grpSpPr>
          <a:xfrm>
            <a:off x="3825115" y="516429"/>
            <a:ext cx="4548068" cy="1062152"/>
            <a:chOff x="3825115" y="516429"/>
            <a:chExt cx="4548068" cy="1062152"/>
          </a:xfrm>
        </p:grpSpPr>
        <p:sp>
          <p:nvSpPr>
            <p:cNvPr id="8" name="Text Placeholder 1">
              <a:extLst>
                <a:ext uri="{FF2B5EF4-FFF2-40B4-BE49-F238E27FC236}">
                  <a16:creationId xmlns:a16="http://schemas.microsoft.com/office/drawing/2014/main" id="{10836EA4-047D-5360-6970-88848D530EB3}"/>
                </a:ext>
              </a:extLst>
            </p:cNvPr>
            <p:cNvSpPr txBox="1">
              <a:spLocks/>
            </p:cNvSpPr>
            <p:nvPr/>
          </p:nvSpPr>
          <p:spPr>
            <a:xfrm>
              <a:off x="4709287" y="516429"/>
              <a:ext cx="1570601" cy="498598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2400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9" name="Title 3">
              <a:extLst>
                <a:ext uri="{FF2B5EF4-FFF2-40B4-BE49-F238E27FC236}">
                  <a16:creationId xmlns:a16="http://schemas.microsoft.com/office/drawing/2014/main" id="{56BFF73F-5A37-4BC8-019F-6A8097A74AAC}"/>
                </a:ext>
              </a:extLst>
            </p:cNvPr>
            <p:cNvSpPr txBox="1">
              <a:spLocks/>
            </p:cNvSpPr>
            <p:nvPr/>
          </p:nvSpPr>
          <p:spPr>
            <a:xfrm>
              <a:off x="4444791" y="1015027"/>
              <a:ext cx="3928392" cy="4985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cap="none" dirty="0">
                  <a:solidFill>
                    <a:srgbClr val="FED112"/>
                  </a:solidFill>
                </a:rPr>
                <a:t>Power BI </a:t>
              </a:r>
              <a:r>
                <a:rPr lang="en-US" sz="2800" cap="none" dirty="0">
                  <a:solidFill>
                    <a:schemeClr val="tx1"/>
                  </a:solidFill>
                </a:rPr>
                <a:t>Training</a:t>
              </a:r>
              <a:endParaRPr lang="en-US" sz="2800" dirty="0">
                <a:solidFill>
                  <a:schemeClr val="tx1"/>
                </a:solidFill>
              </a:endParaRPr>
            </a:p>
          </p:txBody>
        </p:sp>
        <p:pic>
          <p:nvPicPr>
            <p:cNvPr id="10" name="Picture 9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549E3E53-7AF6-0DBC-4FD2-D632774E34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25115" y="950072"/>
              <a:ext cx="943368" cy="6285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98211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84B9BB-19A0-BE5C-F1E3-A311076B7E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210" y="1738392"/>
            <a:ext cx="5112940" cy="412454"/>
          </a:xfrm>
        </p:spPr>
        <p:txBody>
          <a:bodyPr/>
          <a:lstStyle/>
          <a:p>
            <a:r>
              <a:rPr lang="en-US" sz="4000" cap="none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Module 2 Objectives</a:t>
            </a:r>
            <a:endParaRPr lang="en-US" sz="3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9993C53-22D6-F442-B069-E417B6BA826F}"/>
              </a:ext>
            </a:extLst>
          </p:cNvPr>
          <p:cNvSpPr/>
          <p:nvPr/>
        </p:nvSpPr>
        <p:spPr>
          <a:xfrm>
            <a:off x="3813630" y="2516489"/>
            <a:ext cx="6922235" cy="359381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rstand basic data modeling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rstand basic data model type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Explore dimension tables and fact table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Explore data connection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28E01DB-A835-CC34-5A9B-114EF904B7E0}"/>
              </a:ext>
            </a:extLst>
          </p:cNvPr>
          <p:cNvSpPr txBox="1"/>
          <p:nvPr/>
        </p:nvSpPr>
        <p:spPr>
          <a:xfrm>
            <a:off x="0" y="274619"/>
            <a:ext cx="33402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600" cap="none" dirty="0">
                <a:solidFill>
                  <a:schemeClr val="bg1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Data Modeling</a:t>
            </a:r>
            <a:endParaRPr lang="en-US" sz="3600" dirty="0">
              <a:solidFill>
                <a:schemeClr val="bg1"/>
              </a:solidFill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B2BF0C8-4CF7-E2BC-6FC7-47DADCA6A0E0}"/>
              </a:ext>
            </a:extLst>
          </p:cNvPr>
          <p:cNvGrpSpPr/>
          <p:nvPr/>
        </p:nvGrpSpPr>
        <p:grpSpPr>
          <a:xfrm>
            <a:off x="10575427" y="130569"/>
            <a:ext cx="1581902" cy="904072"/>
            <a:chOff x="363368" y="-30356"/>
            <a:chExt cx="1581902" cy="904072"/>
          </a:xfrm>
        </p:grpSpPr>
        <p:sp>
          <p:nvSpPr>
            <p:cNvPr id="14" name="Text Placeholder 1">
              <a:extLst>
                <a:ext uri="{FF2B5EF4-FFF2-40B4-BE49-F238E27FC236}">
                  <a16:creationId xmlns:a16="http://schemas.microsoft.com/office/drawing/2014/main" id="{2B72BDF7-0754-1DD5-D1E2-F947303BD4EC}"/>
                </a:ext>
              </a:extLst>
            </p:cNvPr>
            <p:cNvSpPr txBox="1">
              <a:spLocks/>
            </p:cNvSpPr>
            <p:nvPr/>
          </p:nvSpPr>
          <p:spPr>
            <a:xfrm>
              <a:off x="439156" y="-30356"/>
              <a:ext cx="1071837" cy="318962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15" name="Title 3">
              <a:extLst>
                <a:ext uri="{FF2B5EF4-FFF2-40B4-BE49-F238E27FC236}">
                  <a16:creationId xmlns:a16="http://schemas.microsoft.com/office/drawing/2014/main" id="{BDF407BC-2A45-AD86-A244-3912BDEAFA0D}"/>
                </a:ext>
              </a:extLst>
            </p:cNvPr>
            <p:cNvSpPr txBox="1">
              <a:spLocks/>
            </p:cNvSpPr>
            <p:nvPr/>
          </p:nvSpPr>
          <p:spPr>
            <a:xfrm>
              <a:off x="569537" y="318963"/>
              <a:ext cx="1375733" cy="24929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sz="1800" cap="none" dirty="0">
                  <a:solidFill>
                    <a:srgbClr val="FED112"/>
                  </a:solidFill>
                </a:rPr>
                <a:t>Power BI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16" name="Picture 15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B23D77F0-B3F9-F586-8106-36CFE2ECE86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368" y="323903"/>
              <a:ext cx="412338" cy="274716"/>
            </a:xfrm>
            <a:prstGeom prst="rect">
              <a:avLst/>
            </a:prstGeom>
          </p:spPr>
        </p:pic>
        <p:sp>
          <p:nvSpPr>
            <p:cNvPr id="17" name="Text Placeholder 1">
              <a:extLst>
                <a:ext uri="{FF2B5EF4-FFF2-40B4-BE49-F238E27FC236}">
                  <a16:creationId xmlns:a16="http://schemas.microsoft.com/office/drawing/2014/main" id="{37F06975-C7F6-669F-F926-67336F89042C}"/>
                </a:ext>
              </a:extLst>
            </p:cNvPr>
            <p:cNvSpPr txBox="1">
              <a:spLocks/>
            </p:cNvSpPr>
            <p:nvPr/>
          </p:nvSpPr>
          <p:spPr>
            <a:xfrm>
              <a:off x="793705" y="461261"/>
              <a:ext cx="1151565" cy="412455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8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Segoe UI Semibold" panose="020B0702040204020203" pitchFamily="34" charset="0"/>
                </a:rPr>
                <a:t>Train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40276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467DEC0-8D4E-4077-ABB2-FB2E65EB1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761" y="703860"/>
            <a:ext cx="7763317" cy="545539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800" cap="none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What is a Data model?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79B4B15-F670-41FF-96E1-5D3D40AD5316}"/>
              </a:ext>
            </a:extLst>
          </p:cNvPr>
          <p:cNvSpPr txBox="1">
            <a:spLocks/>
          </p:cNvSpPr>
          <p:nvPr/>
        </p:nvSpPr>
        <p:spPr>
          <a:xfrm>
            <a:off x="742985" y="2769591"/>
            <a:ext cx="7553340" cy="132959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b="0" i="0">
                <a:latin typeface="Segoe UI Light" charset="0"/>
                <a:ea typeface="Segoe UI Light" charset="0"/>
                <a:cs typeface="Segoe UI Light" charset="0"/>
              </a:defRPr>
            </a:lvl1pPr>
            <a:lvl2pPr marL="1028700" lvl="1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b="0" i="0">
                <a:latin typeface="Segoe UI Light" charset="0"/>
                <a:ea typeface="Segoe UI Light" charset="0"/>
                <a:cs typeface="Segoe UI Light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b="0" i="0">
                <a:latin typeface="Segoe UI Light" charset="0"/>
                <a:ea typeface="Segoe UI Light" charset="0"/>
                <a:cs typeface="Segoe UI Light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b="0" i="0">
                <a:latin typeface="Segoe UI Light" charset="0"/>
                <a:ea typeface="Segoe UI Light" charset="0"/>
                <a:cs typeface="Segoe UI Light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b="0" i="0">
                <a:latin typeface="Segoe UI Light" charset="0"/>
                <a:ea typeface="Segoe UI Light" charset="0"/>
                <a:cs typeface="Segoe UI Light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Improves understandability of the data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Increases performance of dependent processes and system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Increases resilience to change - Flexible, Scalable, Adaptab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777CDF1-297B-4E46-8034-EDC0F2C83C74}"/>
              </a:ext>
            </a:extLst>
          </p:cNvPr>
          <p:cNvSpPr txBox="1">
            <a:spLocks/>
          </p:cNvSpPr>
          <p:nvPr/>
        </p:nvSpPr>
        <p:spPr>
          <a:xfrm>
            <a:off x="714761" y="2166631"/>
            <a:ext cx="10397187" cy="52599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 b="0" i="0"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r>
              <a:rPr lang="en-US" sz="28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Why is it important to have a Good Data model?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F8A5725-BF5A-4894-ABD3-BE915306765F}"/>
              </a:ext>
            </a:extLst>
          </p:cNvPr>
          <p:cNvSpPr/>
          <p:nvPr/>
        </p:nvSpPr>
        <p:spPr>
          <a:xfrm>
            <a:off x="714761" y="1229505"/>
            <a:ext cx="9762739" cy="67447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ts val="1000"/>
              </a:spcBef>
            </a:pPr>
            <a:r>
              <a:rPr lang="en-US" dirty="0">
                <a:latin typeface="Segoe UI Light" charset="0"/>
                <a:cs typeface="Segoe UI Light" charset="0"/>
              </a:rPr>
              <a:t>Power BI Data Model is a </a:t>
            </a:r>
            <a:r>
              <a:rPr lang="en-US" b="1" dirty="0">
                <a:latin typeface="Segoe UI Light" charset="0"/>
                <a:cs typeface="Segoe UI Light" charset="0"/>
              </a:rPr>
              <a:t>collection of tables with relationships </a:t>
            </a:r>
            <a:r>
              <a:rPr lang="en-US" dirty="0">
                <a:latin typeface="Segoe UI Light" charset="0"/>
                <a:cs typeface="Segoe UI Light" charset="0"/>
              </a:rPr>
              <a:t>which enables users to easily understand and explore their data to extract valuable business insights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2B51179-EFA5-DEEC-9619-F2B6B7231A3A}"/>
              </a:ext>
            </a:extLst>
          </p:cNvPr>
          <p:cNvGrpSpPr/>
          <p:nvPr/>
        </p:nvGrpSpPr>
        <p:grpSpPr>
          <a:xfrm>
            <a:off x="10575427" y="130569"/>
            <a:ext cx="1581902" cy="904072"/>
            <a:chOff x="363368" y="-30356"/>
            <a:chExt cx="1581902" cy="904072"/>
          </a:xfrm>
        </p:grpSpPr>
        <p:sp>
          <p:nvSpPr>
            <p:cNvPr id="13" name="Text Placeholder 1">
              <a:extLst>
                <a:ext uri="{FF2B5EF4-FFF2-40B4-BE49-F238E27FC236}">
                  <a16:creationId xmlns:a16="http://schemas.microsoft.com/office/drawing/2014/main" id="{194B9C28-B418-01F2-4974-18ED2CE9E2D8}"/>
                </a:ext>
              </a:extLst>
            </p:cNvPr>
            <p:cNvSpPr txBox="1">
              <a:spLocks/>
            </p:cNvSpPr>
            <p:nvPr/>
          </p:nvSpPr>
          <p:spPr>
            <a:xfrm>
              <a:off x="439156" y="-30356"/>
              <a:ext cx="1071837" cy="318962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14" name="Title 3">
              <a:extLst>
                <a:ext uri="{FF2B5EF4-FFF2-40B4-BE49-F238E27FC236}">
                  <a16:creationId xmlns:a16="http://schemas.microsoft.com/office/drawing/2014/main" id="{72E43727-7958-DAE5-AC66-5B797EAC2006}"/>
                </a:ext>
              </a:extLst>
            </p:cNvPr>
            <p:cNvSpPr txBox="1">
              <a:spLocks/>
            </p:cNvSpPr>
            <p:nvPr/>
          </p:nvSpPr>
          <p:spPr>
            <a:xfrm>
              <a:off x="569537" y="318963"/>
              <a:ext cx="1375733" cy="24929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sz="1800" cap="none" dirty="0">
                  <a:solidFill>
                    <a:srgbClr val="FED112"/>
                  </a:solidFill>
                </a:rPr>
                <a:t>Power BI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15" name="Picture 14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AFBC5AB2-B6C8-7698-8661-54693BC9622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368" y="323903"/>
              <a:ext cx="412338" cy="274716"/>
            </a:xfrm>
            <a:prstGeom prst="rect">
              <a:avLst/>
            </a:prstGeom>
          </p:spPr>
        </p:pic>
        <p:sp>
          <p:nvSpPr>
            <p:cNvPr id="16" name="Text Placeholder 1">
              <a:extLst>
                <a:ext uri="{FF2B5EF4-FFF2-40B4-BE49-F238E27FC236}">
                  <a16:creationId xmlns:a16="http://schemas.microsoft.com/office/drawing/2014/main" id="{5CB7B6A1-FE35-81F0-F548-62091DFE2CAD}"/>
                </a:ext>
              </a:extLst>
            </p:cNvPr>
            <p:cNvSpPr txBox="1">
              <a:spLocks/>
            </p:cNvSpPr>
            <p:nvPr/>
          </p:nvSpPr>
          <p:spPr>
            <a:xfrm>
              <a:off x="793705" y="461261"/>
              <a:ext cx="1151565" cy="412455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8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Segoe UI Semibold" panose="020B0702040204020203" pitchFamily="34" charset="0"/>
                </a:rPr>
                <a:t>Training</a:t>
              </a:r>
            </a:p>
          </p:txBody>
        </p:sp>
      </p:grpSp>
      <p:sp>
        <p:nvSpPr>
          <p:cNvPr id="17" name="Title 2">
            <a:extLst>
              <a:ext uri="{FF2B5EF4-FFF2-40B4-BE49-F238E27FC236}">
                <a16:creationId xmlns:a16="http://schemas.microsoft.com/office/drawing/2014/main" id="{62D55282-1A4D-FF14-B0A8-9046084DCBFA}"/>
              </a:ext>
            </a:extLst>
          </p:cNvPr>
          <p:cNvSpPr txBox="1">
            <a:spLocks/>
          </p:cNvSpPr>
          <p:nvPr/>
        </p:nvSpPr>
        <p:spPr>
          <a:xfrm>
            <a:off x="742985" y="4099186"/>
            <a:ext cx="10340737" cy="4140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 sz="2800" cap="none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What is easier with a good data model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8DA97A1-781A-64FC-92A5-F4FC8E4F9964}"/>
              </a:ext>
            </a:extLst>
          </p:cNvPr>
          <p:cNvSpPr txBox="1"/>
          <p:nvPr/>
        </p:nvSpPr>
        <p:spPr>
          <a:xfrm>
            <a:off x="742985" y="4517372"/>
            <a:ext cx="8490136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Managing Storage constraints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Performance Tuning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Managing Row Level Security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Authoring DAX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Everything!</a:t>
            </a:r>
          </a:p>
        </p:txBody>
      </p:sp>
    </p:spTree>
    <p:extLst>
      <p:ext uri="{BB962C8B-B14F-4D97-AF65-F5344CB8AC3E}">
        <p14:creationId xmlns:p14="http://schemas.microsoft.com/office/powerpoint/2010/main" val="72739715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uiExpand="1" build="p"/>
      <p:bldP spid="7" grpId="0"/>
      <p:bldP spid="8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467DEC0-8D4E-4077-ABB2-FB2E65EB1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761" y="845939"/>
            <a:ext cx="7763317" cy="545539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800" cap="none" baseline="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Guiding Question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F8A5725-BF5A-4894-ABD3-BE915306765F}"/>
              </a:ext>
            </a:extLst>
          </p:cNvPr>
          <p:cNvSpPr/>
          <p:nvPr/>
        </p:nvSpPr>
        <p:spPr>
          <a:xfrm>
            <a:off x="714761" y="1755694"/>
            <a:ext cx="10707532" cy="425636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457200" indent="-457200">
              <a:lnSpc>
                <a:spcPct val="90000"/>
              </a:lnSpc>
              <a:spcBef>
                <a:spcPts val="1000"/>
              </a:spcBef>
              <a:buFont typeface="+mj-lt"/>
              <a:buAutoNum type="arabicPeriod"/>
            </a:pPr>
            <a:r>
              <a:rPr lang="en-US" sz="24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What are you measuring? </a:t>
            </a:r>
          </a:p>
          <a:p>
            <a:pPr marL="457200" indent="-457200">
              <a:lnSpc>
                <a:spcPct val="90000"/>
              </a:lnSpc>
              <a:spcBef>
                <a:spcPts val="1000"/>
              </a:spcBef>
              <a:buFont typeface="+mj-lt"/>
              <a:buAutoNum type="arabicPeriod"/>
            </a:pPr>
            <a:r>
              <a:rPr lang="en-US" sz="24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What types of business problems are you trying to solve?</a:t>
            </a:r>
          </a:p>
          <a:p>
            <a:pPr marL="457200" indent="-457200">
              <a:lnSpc>
                <a:spcPct val="90000"/>
              </a:lnSpc>
              <a:spcBef>
                <a:spcPts val="1000"/>
              </a:spcBef>
              <a:buFont typeface="+mj-lt"/>
              <a:buAutoNum type="arabicPeriod"/>
            </a:pPr>
            <a:r>
              <a:rPr lang="en-US" sz="24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How much data are you working with?</a:t>
            </a:r>
          </a:p>
          <a:p>
            <a:pPr marL="457200" indent="-457200">
              <a:lnSpc>
                <a:spcPct val="90000"/>
              </a:lnSpc>
              <a:spcBef>
                <a:spcPts val="1000"/>
              </a:spcBef>
              <a:buFont typeface="+mj-lt"/>
              <a:buAutoNum type="arabicPeriod"/>
            </a:pPr>
            <a:r>
              <a:rPr lang="en-US" sz="24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What are your data sources?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7292BA8-7D32-39A9-4E76-8D9CFE31E7DC}"/>
              </a:ext>
            </a:extLst>
          </p:cNvPr>
          <p:cNvGrpSpPr/>
          <p:nvPr/>
        </p:nvGrpSpPr>
        <p:grpSpPr>
          <a:xfrm>
            <a:off x="10575427" y="130569"/>
            <a:ext cx="1581902" cy="904072"/>
            <a:chOff x="363368" y="-30356"/>
            <a:chExt cx="1581902" cy="904072"/>
          </a:xfrm>
        </p:grpSpPr>
        <p:sp>
          <p:nvSpPr>
            <p:cNvPr id="11" name="Text Placeholder 1">
              <a:extLst>
                <a:ext uri="{FF2B5EF4-FFF2-40B4-BE49-F238E27FC236}">
                  <a16:creationId xmlns:a16="http://schemas.microsoft.com/office/drawing/2014/main" id="{151C05AC-87AF-86E6-EC67-81B257888800}"/>
                </a:ext>
              </a:extLst>
            </p:cNvPr>
            <p:cNvSpPr txBox="1">
              <a:spLocks/>
            </p:cNvSpPr>
            <p:nvPr/>
          </p:nvSpPr>
          <p:spPr>
            <a:xfrm>
              <a:off x="439156" y="-30356"/>
              <a:ext cx="1071837" cy="318962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12" name="Title 3">
              <a:extLst>
                <a:ext uri="{FF2B5EF4-FFF2-40B4-BE49-F238E27FC236}">
                  <a16:creationId xmlns:a16="http://schemas.microsoft.com/office/drawing/2014/main" id="{0CF87E79-EA03-7679-50B0-0CBCDC3519B3}"/>
                </a:ext>
              </a:extLst>
            </p:cNvPr>
            <p:cNvSpPr txBox="1">
              <a:spLocks/>
            </p:cNvSpPr>
            <p:nvPr/>
          </p:nvSpPr>
          <p:spPr>
            <a:xfrm>
              <a:off x="569537" y="318963"/>
              <a:ext cx="1375733" cy="24929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sz="1800" cap="none" dirty="0">
                  <a:solidFill>
                    <a:srgbClr val="FED112"/>
                  </a:solidFill>
                </a:rPr>
                <a:t>Power BI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13" name="Picture 12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8A347CB9-6A3E-DC96-7C69-3DE20FBEE1D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63368" y="323903"/>
              <a:ext cx="412338" cy="274716"/>
            </a:xfrm>
            <a:prstGeom prst="rect">
              <a:avLst/>
            </a:prstGeom>
          </p:spPr>
        </p:pic>
        <p:sp>
          <p:nvSpPr>
            <p:cNvPr id="14" name="Text Placeholder 1">
              <a:extLst>
                <a:ext uri="{FF2B5EF4-FFF2-40B4-BE49-F238E27FC236}">
                  <a16:creationId xmlns:a16="http://schemas.microsoft.com/office/drawing/2014/main" id="{5C6CCDF0-42DC-8C30-FBF9-73E5A94804C5}"/>
                </a:ext>
              </a:extLst>
            </p:cNvPr>
            <p:cNvSpPr txBox="1">
              <a:spLocks/>
            </p:cNvSpPr>
            <p:nvPr/>
          </p:nvSpPr>
          <p:spPr>
            <a:xfrm>
              <a:off x="793705" y="461261"/>
              <a:ext cx="1151565" cy="412455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8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Segoe UI Semibold" panose="020B0702040204020203" pitchFamily="34" charset="0"/>
                </a:rPr>
                <a:t>Train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0981970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467DEC0-8D4E-4077-ABB2-FB2E65EB1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761" y="845939"/>
            <a:ext cx="7763317" cy="545539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800" cap="none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Data Model Level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2B51179-EFA5-DEEC-9619-F2B6B7231A3A}"/>
              </a:ext>
            </a:extLst>
          </p:cNvPr>
          <p:cNvGrpSpPr/>
          <p:nvPr/>
        </p:nvGrpSpPr>
        <p:grpSpPr>
          <a:xfrm>
            <a:off x="10575427" y="130569"/>
            <a:ext cx="1581902" cy="904072"/>
            <a:chOff x="363368" y="-30356"/>
            <a:chExt cx="1581902" cy="904072"/>
          </a:xfrm>
        </p:grpSpPr>
        <p:sp>
          <p:nvSpPr>
            <p:cNvPr id="13" name="Text Placeholder 1">
              <a:extLst>
                <a:ext uri="{FF2B5EF4-FFF2-40B4-BE49-F238E27FC236}">
                  <a16:creationId xmlns:a16="http://schemas.microsoft.com/office/drawing/2014/main" id="{194B9C28-B418-01F2-4974-18ED2CE9E2D8}"/>
                </a:ext>
              </a:extLst>
            </p:cNvPr>
            <p:cNvSpPr txBox="1">
              <a:spLocks/>
            </p:cNvSpPr>
            <p:nvPr/>
          </p:nvSpPr>
          <p:spPr>
            <a:xfrm>
              <a:off x="439156" y="-30356"/>
              <a:ext cx="1071837" cy="318962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14" name="Title 3">
              <a:extLst>
                <a:ext uri="{FF2B5EF4-FFF2-40B4-BE49-F238E27FC236}">
                  <a16:creationId xmlns:a16="http://schemas.microsoft.com/office/drawing/2014/main" id="{72E43727-7958-DAE5-AC66-5B797EAC2006}"/>
                </a:ext>
              </a:extLst>
            </p:cNvPr>
            <p:cNvSpPr txBox="1">
              <a:spLocks/>
            </p:cNvSpPr>
            <p:nvPr/>
          </p:nvSpPr>
          <p:spPr>
            <a:xfrm>
              <a:off x="569537" y="318963"/>
              <a:ext cx="1375733" cy="24929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sz="1800" cap="none" dirty="0">
                  <a:solidFill>
                    <a:srgbClr val="FED112"/>
                  </a:solidFill>
                </a:rPr>
                <a:t>Power BI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15" name="Picture 14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AFBC5AB2-B6C8-7698-8661-54693BC9622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368" y="323903"/>
              <a:ext cx="412338" cy="274716"/>
            </a:xfrm>
            <a:prstGeom prst="rect">
              <a:avLst/>
            </a:prstGeom>
          </p:spPr>
        </p:pic>
        <p:sp>
          <p:nvSpPr>
            <p:cNvPr id="16" name="Text Placeholder 1">
              <a:extLst>
                <a:ext uri="{FF2B5EF4-FFF2-40B4-BE49-F238E27FC236}">
                  <a16:creationId xmlns:a16="http://schemas.microsoft.com/office/drawing/2014/main" id="{5CB7B6A1-FE35-81F0-F548-62091DFE2CAD}"/>
                </a:ext>
              </a:extLst>
            </p:cNvPr>
            <p:cNvSpPr txBox="1">
              <a:spLocks/>
            </p:cNvSpPr>
            <p:nvPr/>
          </p:nvSpPr>
          <p:spPr>
            <a:xfrm>
              <a:off x="793705" y="461261"/>
              <a:ext cx="1151565" cy="412455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8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Segoe UI Semibold" panose="020B0702040204020203" pitchFamily="34" charset="0"/>
                </a:rPr>
                <a:t>Training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627548A-79C3-C885-5288-73BCC636B6D0}"/>
              </a:ext>
            </a:extLst>
          </p:cNvPr>
          <p:cNvGrpSpPr/>
          <p:nvPr/>
        </p:nvGrpSpPr>
        <p:grpSpPr>
          <a:xfrm>
            <a:off x="566697" y="1965960"/>
            <a:ext cx="3291840" cy="3931920"/>
            <a:chOff x="874014" y="2733633"/>
            <a:chExt cx="3291840" cy="3291840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665B7CC2-11A3-572D-4C09-E452AB9326E0}"/>
                </a:ext>
              </a:extLst>
            </p:cNvPr>
            <p:cNvSpPr/>
            <p:nvPr/>
          </p:nvSpPr>
          <p:spPr>
            <a:xfrm>
              <a:off x="874014" y="2733633"/>
              <a:ext cx="3291840" cy="3291840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n-US" sz="2400" b="1" dirty="0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nceptual</a:t>
              </a:r>
            </a:p>
            <a:p>
              <a:pPr algn="ctr">
                <a:spcBef>
                  <a:spcPts val="1000"/>
                </a:spcBef>
              </a:pPr>
              <a:endParaRPr lang="en-US" sz="2000" dirty="0">
                <a:latin typeface="Segoe UI Light" charset="0"/>
                <a:cs typeface="Segoe UI Light" charset="0"/>
              </a:endParaRPr>
            </a:p>
            <a:p>
              <a:pPr algn="ctr">
                <a:spcBef>
                  <a:spcPts val="1000"/>
                </a:spcBef>
              </a:pPr>
              <a:endParaRPr lang="en-US" sz="2000" dirty="0">
                <a:latin typeface="Segoe UI Light" charset="0"/>
                <a:cs typeface="Segoe UI Light" charset="0"/>
              </a:endParaRPr>
            </a:p>
            <a:p>
              <a:pPr algn="ctr">
                <a:spcBef>
                  <a:spcPts val="1000"/>
                </a:spcBef>
              </a:pPr>
              <a:endParaRPr lang="en-US" sz="2000" dirty="0">
                <a:latin typeface="Segoe UI Light" charset="0"/>
                <a:cs typeface="Segoe UI Light" charset="0"/>
              </a:endParaRPr>
            </a:p>
            <a:p>
              <a:pPr algn="ctr">
                <a:spcBef>
                  <a:spcPts val="1000"/>
                </a:spcBef>
              </a:pPr>
              <a:endParaRPr lang="en-US" sz="2000" dirty="0">
                <a:latin typeface="Segoe UI Light" charset="0"/>
                <a:cs typeface="Segoe UI Light" charset="0"/>
              </a:endParaRPr>
            </a:p>
            <a:p>
              <a:pPr algn="ctr">
                <a:spcBef>
                  <a:spcPts val="1000"/>
                </a:spcBef>
              </a:pPr>
              <a:endParaRPr lang="en-US" sz="2000" dirty="0">
                <a:latin typeface="Segoe UI Light" charset="0"/>
                <a:cs typeface="Segoe UI Light" charset="0"/>
              </a:endParaRPr>
            </a:p>
            <a:p>
              <a:pPr algn="ctr">
                <a:spcBef>
                  <a:spcPts val="1000"/>
                </a:spcBef>
              </a:pPr>
              <a:endParaRPr lang="en-US" sz="2000" dirty="0">
                <a:latin typeface="Segoe UI Light" charset="0"/>
                <a:cs typeface="Segoe UI Light" charset="0"/>
              </a:endParaRPr>
            </a:p>
            <a:p>
              <a:pPr algn="ctr">
                <a:spcBef>
                  <a:spcPts val="1000"/>
                </a:spcBef>
              </a:pPr>
              <a:endParaRPr lang="en-US" sz="2000" dirty="0">
                <a:latin typeface="Segoe UI Light" charset="0"/>
                <a:cs typeface="Segoe UI Light" charset="0"/>
              </a:endParaRPr>
            </a:p>
            <a:p>
              <a:pPr algn="ctr">
                <a:spcBef>
                  <a:spcPts val="1000"/>
                </a:spcBef>
              </a:pPr>
              <a:r>
                <a:rPr lang="en-US" sz="2000" dirty="0">
                  <a:latin typeface="Segoe UI Light" charset="0"/>
                  <a:cs typeface="Segoe UI Light" charset="0"/>
                </a:rPr>
                <a:t>the “what” model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5A04651-7CAF-E1E5-54E6-0C3370443B0F}"/>
                </a:ext>
              </a:extLst>
            </p:cNvPr>
            <p:cNvSpPr/>
            <p:nvPr/>
          </p:nvSpPr>
          <p:spPr>
            <a:xfrm>
              <a:off x="1510709" y="3339312"/>
              <a:ext cx="1880189" cy="936355"/>
            </a:xfrm>
            <a:prstGeom prst="rect">
              <a:avLst/>
            </a:prstGeom>
            <a:ln>
              <a:headEnd type="triangle"/>
              <a:tailEnd type="none"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Sales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250FFC7-0286-855D-9364-538C1252E4F8}"/>
                </a:ext>
              </a:extLst>
            </p:cNvPr>
            <p:cNvSpPr/>
            <p:nvPr/>
          </p:nvSpPr>
          <p:spPr>
            <a:xfrm>
              <a:off x="1510710" y="4572828"/>
              <a:ext cx="1880189" cy="936355"/>
            </a:xfrm>
            <a:prstGeom prst="rect">
              <a:avLst/>
            </a:prstGeom>
            <a:ln>
              <a:headEnd type="triangle"/>
              <a:tailEnd type="none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Products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FE20DC8-FD44-281C-9922-A37823CC9A77}"/>
              </a:ext>
            </a:extLst>
          </p:cNvPr>
          <p:cNvGrpSpPr/>
          <p:nvPr/>
        </p:nvGrpSpPr>
        <p:grpSpPr>
          <a:xfrm>
            <a:off x="7233923" y="1965960"/>
            <a:ext cx="3753842" cy="3931920"/>
            <a:chOff x="7695924" y="2636520"/>
            <a:chExt cx="3753842" cy="3949799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D337852E-FA1E-82A4-9D35-B67F6AA0B0E1}"/>
                </a:ext>
              </a:extLst>
            </p:cNvPr>
            <p:cNvSpPr txBox="1"/>
            <p:nvPr/>
          </p:nvSpPr>
          <p:spPr>
            <a:xfrm>
              <a:off x="7695924" y="2636520"/>
              <a:ext cx="3753842" cy="39497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n-US" sz="2400" b="1" dirty="0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hysical</a:t>
              </a:r>
              <a:r>
                <a:rPr lang="en-US" sz="2400" dirty="0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 </a:t>
              </a:r>
            </a:p>
            <a:p>
              <a:pPr algn="ctr">
                <a:spcBef>
                  <a:spcPts val="1000"/>
                </a:spcBef>
              </a:pPr>
              <a:endParaRPr lang="en-US" sz="2000" dirty="0">
                <a:latin typeface="Segoe UI Light" charset="0"/>
                <a:cs typeface="Segoe UI Light" charset="0"/>
              </a:endParaRPr>
            </a:p>
            <a:p>
              <a:pPr algn="ctr">
                <a:spcBef>
                  <a:spcPts val="1000"/>
                </a:spcBef>
              </a:pPr>
              <a:endParaRPr lang="en-US" sz="2000" dirty="0">
                <a:latin typeface="Segoe UI Light" charset="0"/>
                <a:cs typeface="Segoe UI Light" charset="0"/>
              </a:endParaRPr>
            </a:p>
            <a:p>
              <a:pPr algn="ctr">
                <a:spcBef>
                  <a:spcPts val="1000"/>
                </a:spcBef>
              </a:pPr>
              <a:endParaRPr lang="en-US" sz="2000" dirty="0">
                <a:latin typeface="Segoe UI Light" charset="0"/>
                <a:cs typeface="Segoe UI Light" charset="0"/>
              </a:endParaRPr>
            </a:p>
            <a:p>
              <a:pPr algn="ctr">
                <a:spcBef>
                  <a:spcPts val="1000"/>
                </a:spcBef>
              </a:pPr>
              <a:endParaRPr lang="en-US" sz="2000" dirty="0">
                <a:latin typeface="Segoe UI Light" charset="0"/>
                <a:cs typeface="Segoe UI Light" charset="0"/>
              </a:endParaRPr>
            </a:p>
            <a:p>
              <a:pPr algn="ctr">
                <a:spcBef>
                  <a:spcPts val="1000"/>
                </a:spcBef>
              </a:pPr>
              <a:endParaRPr lang="en-US" sz="2000" dirty="0">
                <a:latin typeface="Segoe UI Light" charset="0"/>
                <a:cs typeface="Segoe UI Light" charset="0"/>
              </a:endParaRPr>
            </a:p>
            <a:p>
              <a:pPr algn="ctr">
                <a:spcBef>
                  <a:spcPts val="1000"/>
                </a:spcBef>
              </a:pPr>
              <a:endParaRPr lang="en-US" sz="2000" dirty="0">
                <a:latin typeface="Segoe UI Light" charset="0"/>
                <a:cs typeface="Segoe UI Light" charset="0"/>
              </a:endParaRPr>
            </a:p>
            <a:p>
              <a:pPr algn="ctr">
                <a:spcBef>
                  <a:spcPts val="1000"/>
                </a:spcBef>
              </a:pPr>
              <a:endParaRPr lang="en-US" sz="2000" dirty="0">
                <a:latin typeface="Segoe UI Light" charset="0"/>
                <a:cs typeface="Segoe UI Light" charset="0"/>
              </a:endParaRPr>
            </a:p>
            <a:p>
              <a:pPr algn="ctr">
                <a:spcBef>
                  <a:spcPts val="1000"/>
                </a:spcBef>
              </a:pPr>
              <a:r>
                <a:rPr lang="en-US" sz="2000" dirty="0">
                  <a:latin typeface="Segoe UI Light" charset="0"/>
                  <a:cs typeface="Segoe UI Light" charset="0"/>
                </a:rPr>
                <a:t>the “how” of the implementation</a:t>
              </a:r>
              <a:endParaRPr lang="en-US" sz="2000" dirty="0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ED62831-E737-7507-FCCD-732FF6D231AE}"/>
                </a:ext>
              </a:extLst>
            </p:cNvPr>
            <p:cNvGrpSpPr/>
            <p:nvPr/>
          </p:nvGrpSpPr>
          <p:grpSpPr>
            <a:xfrm>
              <a:off x="7958887" y="3235426"/>
              <a:ext cx="3272272" cy="1212565"/>
              <a:chOff x="8376534" y="3234110"/>
              <a:chExt cx="2527686" cy="1212565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C1180E63-4BBC-62D1-62A3-6F9FE8BD9EE8}"/>
                  </a:ext>
                </a:extLst>
              </p:cNvPr>
              <p:cNvSpPr/>
              <p:nvPr/>
            </p:nvSpPr>
            <p:spPr>
              <a:xfrm>
                <a:off x="8376534" y="3234110"/>
                <a:ext cx="2527686" cy="376867"/>
              </a:xfrm>
              <a:prstGeom prst="rect">
                <a:avLst/>
              </a:prstGeom>
              <a:ln>
                <a:headEnd type="triangle"/>
                <a:tailEnd type="none"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Sales Fact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D3905359-2FDA-C3E2-2554-16638977E7F3}"/>
                  </a:ext>
                </a:extLst>
              </p:cNvPr>
              <p:cNvSpPr/>
              <p:nvPr/>
            </p:nvSpPr>
            <p:spPr>
              <a:xfrm>
                <a:off x="8376534" y="3558481"/>
                <a:ext cx="2527686" cy="888194"/>
              </a:xfrm>
              <a:prstGeom prst="rect">
                <a:avLst/>
              </a:prstGeom>
              <a:solidFill>
                <a:schemeClr val="bg2">
                  <a:lumMod val="95000"/>
                </a:schemeClr>
              </a:solidFill>
              <a:ln>
                <a:headEnd type="triangle"/>
                <a:tailEnd type="none"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tlCol="0" anchor="t"/>
              <a:lstStyle/>
              <a:p>
                <a:pPr algn="ctr"/>
                <a:r>
                  <a:rPr lang="en-US" sz="1100" dirty="0"/>
                  <a:t>Fact Sales ID [int] IDENTITY(1,1) NOT NULL</a:t>
                </a:r>
              </a:p>
              <a:p>
                <a:pPr algn="ctr"/>
                <a:r>
                  <a:rPr lang="en-US" sz="1100" dirty="0"/>
                  <a:t>Transaction Number [varchar](64) NULL</a:t>
                </a:r>
              </a:p>
              <a:p>
                <a:pPr algn="ctr"/>
                <a:r>
                  <a:rPr lang="en-US" sz="1100" dirty="0"/>
                  <a:t>Product ID [int] NOT NULL </a:t>
                </a:r>
              </a:p>
              <a:p>
                <a:pPr algn="ctr"/>
                <a:r>
                  <a:rPr lang="en-US" sz="1100" dirty="0"/>
                  <a:t>Sale Date ID [int] NOT NULL </a:t>
                </a:r>
              </a:p>
              <a:p>
                <a:pPr algn="ctr"/>
                <a:r>
                  <a:rPr lang="en-US" sz="1100" dirty="0"/>
                  <a:t>Sales Amount [decimal](19,2) NULL</a:t>
                </a:r>
              </a:p>
              <a:p>
                <a:endParaRPr lang="en-US" sz="1050" dirty="0"/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24298EC6-785E-F028-721E-E7184A1B81FA}"/>
                </a:ext>
              </a:extLst>
            </p:cNvPr>
            <p:cNvGrpSpPr/>
            <p:nvPr/>
          </p:nvGrpSpPr>
          <p:grpSpPr>
            <a:xfrm>
              <a:off x="7958887" y="4748705"/>
              <a:ext cx="3272272" cy="1276768"/>
              <a:chOff x="8376534" y="4748705"/>
              <a:chExt cx="2527686" cy="1276768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A30D7246-657C-F65A-2CFE-C0401C7DB9CE}"/>
                  </a:ext>
                </a:extLst>
              </p:cNvPr>
              <p:cNvSpPr/>
              <p:nvPr/>
            </p:nvSpPr>
            <p:spPr>
              <a:xfrm>
                <a:off x="8376534" y="4748705"/>
                <a:ext cx="2527686" cy="402415"/>
              </a:xfrm>
              <a:prstGeom prst="rect">
                <a:avLst/>
              </a:prstGeom>
              <a:ln>
                <a:headEnd type="triangle"/>
                <a:tailEnd type="none"/>
              </a:ln>
            </p:spPr>
            <p:style>
              <a:lnRef idx="0">
                <a:schemeClr val="dk1"/>
              </a:lnRef>
              <a:fillRef idx="3">
                <a:schemeClr val="dk1"/>
              </a:fillRef>
              <a:effectRef idx="3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Products Dim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D7BE5537-07B9-DC1F-41F6-7CF8900A46F1}"/>
                  </a:ext>
                </a:extLst>
              </p:cNvPr>
              <p:cNvSpPr/>
              <p:nvPr/>
            </p:nvSpPr>
            <p:spPr>
              <a:xfrm>
                <a:off x="8376534" y="5136959"/>
                <a:ext cx="2527686" cy="888514"/>
              </a:xfrm>
              <a:prstGeom prst="rect">
                <a:avLst/>
              </a:prstGeom>
              <a:ln>
                <a:headEnd type="triangle"/>
                <a:tailEnd type="none"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t"/>
              <a:lstStyle/>
              <a:p>
                <a:r>
                  <a:rPr lang="en-US" sz="1100" dirty="0"/>
                  <a:t>Product ID [int] IDENTITY(1,1) NOT NULL </a:t>
                </a:r>
              </a:p>
              <a:p>
                <a:r>
                  <a:rPr lang="en-US" sz="1100" dirty="0"/>
                  <a:t>UPC Code [varchar](12) NOT NULL </a:t>
                </a:r>
              </a:p>
              <a:p>
                <a:r>
                  <a:rPr lang="en-US" sz="1100" dirty="0"/>
                  <a:t>Product Name [varchar](128) NOT NULL </a:t>
                </a:r>
              </a:p>
              <a:p>
                <a:r>
                  <a:rPr lang="en-US" sz="1100" dirty="0"/>
                  <a:t>Product Description [varchar](512) NUL</a:t>
                </a:r>
              </a:p>
            </p:txBody>
          </p:sp>
        </p:grp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24B7C874-370F-D16B-F46A-208D85B1EABB}"/>
              </a:ext>
            </a:extLst>
          </p:cNvPr>
          <p:cNvGrpSpPr/>
          <p:nvPr/>
        </p:nvGrpSpPr>
        <p:grpSpPr>
          <a:xfrm>
            <a:off x="3599457" y="1965960"/>
            <a:ext cx="3291840" cy="3931920"/>
            <a:chOff x="4243197" y="2733633"/>
            <a:chExt cx="3291840" cy="394979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3A3C8FC-D453-1CB1-77B0-23A34B12B167}"/>
                </a:ext>
              </a:extLst>
            </p:cNvPr>
            <p:cNvSpPr txBox="1"/>
            <p:nvPr/>
          </p:nvSpPr>
          <p:spPr>
            <a:xfrm>
              <a:off x="4243197" y="2733633"/>
              <a:ext cx="3291840" cy="39497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n-US" sz="2400" b="1" dirty="0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ical</a:t>
              </a:r>
            </a:p>
            <a:p>
              <a:pPr algn="ctr">
                <a:spcBef>
                  <a:spcPts val="1000"/>
                </a:spcBef>
              </a:pPr>
              <a:endParaRPr lang="en-US" sz="2000" b="1" dirty="0">
                <a:latin typeface="Segoe UI Light" charset="0"/>
                <a:cs typeface="Segoe UI Light" charset="0"/>
              </a:endParaRPr>
            </a:p>
            <a:p>
              <a:pPr algn="ctr">
                <a:spcBef>
                  <a:spcPts val="1000"/>
                </a:spcBef>
              </a:pPr>
              <a:endParaRPr lang="en-US" sz="2000" b="1" dirty="0">
                <a:latin typeface="Segoe UI Light" charset="0"/>
                <a:cs typeface="Segoe UI Light" charset="0"/>
              </a:endParaRPr>
            </a:p>
            <a:p>
              <a:pPr algn="ctr">
                <a:spcBef>
                  <a:spcPts val="1000"/>
                </a:spcBef>
              </a:pPr>
              <a:endParaRPr lang="en-US" sz="2000" b="1" dirty="0">
                <a:latin typeface="Segoe UI Light" charset="0"/>
                <a:cs typeface="Segoe UI Light" charset="0"/>
              </a:endParaRPr>
            </a:p>
            <a:p>
              <a:pPr algn="ctr">
                <a:spcBef>
                  <a:spcPts val="1000"/>
                </a:spcBef>
              </a:pPr>
              <a:endParaRPr lang="en-US" sz="2000" b="1" dirty="0">
                <a:latin typeface="Segoe UI Light" charset="0"/>
                <a:cs typeface="Segoe UI Light" charset="0"/>
              </a:endParaRPr>
            </a:p>
            <a:p>
              <a:pPr algn="ctr">
                <a:spcBef>
                  <a:spcPts val="1000"/>
                </a:spcBef>
              </a:pPr>
              <a:endParaRPr lang="en-US" sz="2000" b="1" dirty="0">
                <a:latin typeface="Segoe UI Light" charset="0"/>
                <a:cs typeface="Segoe UI Light" charset="0"/>
              </a:endParaRPr>
            </a:p>
            <a:p>
              <a:pPr algn="ctr">
                <a:spcBef>
                  <a:spcPts val="1000"/>
                </a:spcBef>
              </a:pPr>
              <a:endParaRPr lang="en-US" sz="2000" b="1" dirty="0">
                <a:latin typeface="Segoe UI Light" charset="0"/>
                <a:cs typeface="Segoe UI Light" charset="0"/>
              </a:endParaRPr>
            </a:p>
            <a:p>
              <a:pPr algn="ctr">
                <a:spcBef>
                  <a:spcPts val="1000"/>
                </a:spcBef>
              </a:pPr>
              <a:endParaRPr lang="en-US" sz="2000" b="1" dirty="0">
                <a:latin typeface="Segoe UI Light" charset="0"/>
                <a:cs typeface="Segoe UI Light" charset="0"/>
              </a:endParaRPr>
            </a:p>
            <a:p>
              <a:pPr algn="ctr">
                <a:spcBef>
                  <a:spcPts val="1000"/>
                </a:spcBef>
              </a:pPr>
              <a:r>
                <a:rPr lang="en-US" sz="2000" dirty="0">
                  <a:latin typeface="Segoe UI Light" charset="0"/>
                  <a:cs typeface="Segoe UI Light" charset="0"/>
                </a:rPr>
                <a:t>the “how” of the details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3DD94D63-6C7D-1D6B-070A-181259391CF2}"/>
                </a:ext>
              </a:extLst>
            </p:cNvPr>
            <p:cNvGrpSpPr/>
            <p:nvPr/>
          </p:nvGrpSpPr>
          <p:grpSpPr>
            <a:xfrm>
              <a:off x="4667047" y="4838507"/>
              <a:ext cx="2527686" cy="1276768"/>
              <a:chOff x="8376534" y="4830781"/>
              <a:chExt cx="2527686" cy="1276768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6195CCBF-F291-54E9-2891-75E37891831E}"/>
                  </a:ext>
                </a:extLst>
              </p:cNvPr>
              <p:cNvSpPr/>
              <p:nvPr/>
            </p:nvSpPr>
            <p:spPr>
              <a:xfrm>
                <a:off x="8376534" y="4830781"/>
                <a:ext cx="2527686" cy="402415"/>
              </a:xfrm>
              <a:prstGeom prst="rect">
                <a:avLst/>
              </a:prstGeom>
              <a:ln>
                <a:headEnd type="triangle"/>
                <a:tailEnd type="none"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Product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82D851C5-7C3F-D861-8344-722F68E87343}"/>
                  </a:ext>
                </a:extLst>
              </p:cNvPr>
              <p:cNvSpPr/>
              <p:nvPr/>
            </p:nvSpPr>
            <p:spPr>
              <a:xfrm>
                <a:off x="8376534" y="5219035"/>
                <a:ext cx="2527686" cy="888514"/>
              </a:xfrm>
              <a:prstGeom prst="rect">
                <a:avLst/>
              </a:prstGeom>
              <a:solidFill>
                <a:schemeClr val="bg2">
                  <a:lumMod val="95000"/>
                </a:schemeClr>
              </a:solidFill>
              <a:ln>
                <a:headEnd type="triangle"/>
                <a:tailEnd type="none"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t"/>
              <a:lstStyle/>
              <a:p>
                <a:pPr algn="ctr"/>
                <a:r>
                  <a:rPr lang="en-US" sz="1400" dirty="0"/>
                  <a:t>UPC</a:t>
                </a:r>
              </a:p>
              <a:p>
                <a:pPr algn="ctr"/>
                <a:r>
                  <a:rPr lang="en-US" sz="1400" dirty="0"/>
                  <a:t>Name</a:t>
                </a:r>
              </a:p>
              <a:p>
                <a:pPr algn="ctr"/>
                <a:r>
                  <a:rPr lang="en-US" sz="1400" dirty="0"/>
                  <a:t>Category</a:t>
                </a:r>
              </a:p>
              <a:p>
                <a:pPr algn="ctr"/>
                <a:r>
                  <a:rPr lang="en-US" sz="1400" dirty="0"/>
                  <a:t>Price</a:t>
                </a:r>
              </a:p>
              <a:p>
                <a:endParaRPr lang="en-US" dirty="0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AF1639E2-AA73-E1F6-3750-30E75A4F6722}"/>
                </a:ext>
              </a:extLst>
            </p:cNvPr>
            <p:cNvGrpSpPr/>
            <p:nvPr/>
          </p:nvGrpSpPr>
          <p:grpSpPr>
            <a:xfrm>
              <a:off x="4667047" y="3332539"/>
              <a:ext cx="2527686" cy="1252358"/>
              <a:chOff x="8376534" y="3296665"/>
              <a:chExt cx="2527686" cy="1252358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ADA3F315-BE74-3AFF-9633-D2F2781C85FA}"/>
                  </a:ext>
                </a:extLst>
              </p:cNvPr>
              <p:cNvSpPr/>
              <p:nvPr/>
            </p:nvSpPr>
            <p:spPr>
              <a:xfrm>
                <a:off x="8376534" y="3296665"/>
                <a:ext cx="2527686" cy="324370"/>
              </a:xfrm>
              <a:prstGeom prst="rect">
                <a:avLst/>
              </a:prstGeom>
              <a:ln>
                <a:solidFill>
                  <a:schemeClr val="accent3">
                    <a:lumMod val="20000"/>
                    <a:lumOff val="80000"/>
                  </a:schemeClr>
                </a:solidFill>
                <a:headEnd type="triangle"/>
                <a:tailEnd type="none"/>
              </a:ln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Sales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951C9C38-ACD0-9D6E-B109-C34C563407EA}"/>
                  </a:ext>
                </a:extLst>
              </p:cNvPr>
              <p:cNvSpPr/>
              <p:nvPr/>
            </p:nvSpPr>
            <p:spPr>
              <a:xfrm>
                <a:off x="8376534" y="3621034"/>
                <a:ext cx="2527686" cy="927989"/>
              </a:xfrm>
              <a:prstGeom prst="rect">
                <a:avLst/>
              </a:prstGeom>
              <a:solidFill>
                <a:schemeClr val="bg2">
                  <a:lumMod val="95000"/>
                </a:schemeClr>
              </a:solidFill>
              <a:ln>
                <a:headEnd type="triangle"/>
                <a:tailEnd type="none"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tlCol="0" anchor="t"/>
              <a:lstStyle/>
              <a:p>
                <a:pPr algn="ctr"/>
                <a:r>
                  <a:rPr lang="en-US" sz="1400" dirty="0"/>
                  <a:t>Transaction Number</a:t>
                </a:r>
              </a:p>
              <a:p>
                <a:pPr algn="ctr"/>
                <a:r>
                  <a:rPr lang="en-US" sz="1400" dirty="0"/>
                  <a:t>Product</a:t>
                </a:r>
              </a:p>
              <a:p>
                <a:pPr algn="ctr"/>
                <a:r>
                  <a:rPr lang="en-US" sz="1400" dirty="0"/>
                  <a:t>Sale Date</a:t>
                </a:r>
              </a:p>
              <a:p>
                <a:pPr algn="ctr"/>
                <a:r>
                  <a:rPr lang="en-US" sz="1400" dirty="0"/>
                  <a:t>Sales Amount</a:t>
                </a:r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3625720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467DEC0-8D4E-4077-ABB2-FB2E65EB1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761" y="845939"/>
            <a:ext cx="7763317" cy="545539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800" cap="none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Conceptual Data Model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2B51179-EFA5-DEEC-9619-F2B6B7231A3A}"/>
              </a:ext>
            </a:extLst>
          </p:cNvPr>
          <p:cNvGrpSpPr/>
          <p:nvPr/>
        </p:nvGrpSpPr>
        <p:grpSpPr>
          <a:xfrm>
            <a:off x="10575427" y="130569"/>
            <a:ext cx="1581902" cy="904072"/>
            <a:chOff x="363368" y="-30356"/>
            <a:chExt cx="1581902" cy="904072"/>
          </a:xfrm>
        </p:grpSpPr>
        <p:sp>
          <p:nvSpPr>
            <p:cNvPr id="13" name="Text Placeholder 1">
              <a:extLst>
                <a:ext uri="{FF2B5EF4-FFF2-40B4-BE49-F238E27FC236}">
                  <a16:creationId xmlns:a16="http://schemas.microsoft.com/office/drawing/2014/main" id="{194B9C28-B418-01F2-4974-18ED2CE9E2D8}"/>
                </a:ext>
              </a:extLst>
            </p:cNvPr>
            <p:cNvSpPr txBox="1">
              <a:spLocks/>
            </p:cNvSpPr>
            <p:nvPr/>
          </p:nvSpPr>
          <p:spPr>
            <a:xfrm>
              <a:off x="439156" y="-30356"/>
              <a:ext cx="1071837" cy="318962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14" name="Title 3">
              <a:extLst>
                <a:ext uri="{FF2B5EF4-FFF2-40B4-BE49-F238E27FC236}">
                  <a16:creationId xmlns:a16="http://schemas.microsoft.com/office/drawing/2014/main" id="{72E43727-7958-DAE5-AC66-5B797EAC2006}"/>
                </a:ext>
              </a:extLst>
            </p:cNvPr>
            <p:cNvSpPr txBox="1">
              <a:spLocks/>
            </p:cNvSpPr>
            <p:nvPr/>
          </p:nvSpPr>
          <p:spPr>
            <a:xfrm>
              <a:off x="569537" y="318963"/>
              <a:ext cx="1375733" cy="24929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sz="1800" cap="none" dirty="0">
                  <a:solidFill>
                    <a:srgbClr val="FED112"/>
                  </a:solidFill>
                </a:rPr>
                <a:t>Power BI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15" name="Picture 14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AFBC5AB2-B6C8-7698-8661-54693BC9622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368" y="323903"/>
              <a:ext cx="412338" cy="274716"/>
            </a:xfrm>
            <a:prstGeom prst="rect">
              <a:avLst/>
            </a:prstGeom>
          </p:spPr>
        </p:pic>
        <p:sp>
          <p:nvSpPr>
            <p:cNvPr id="16" name="Text Placeholder 1">
              <a:extLst>
                <a:ext uri="{FF2B5EF4-FFF2-40B4-BE49-F238E27FC236}">
                  <a16:creationId xmlns:a16="http://schemas.microsoft.com/office/drawing/2014/main" id="{5CB7B6A1-FE35-81F0-F548-62091DFE2CAD}"/>
                </a:ext>
              </a:extLst>
            </p:cNvPr>
            <p:cNvSpPr txBox="1">
              <a:spLocks/>
            </p:cNvSpPr>
            <p:nvPr/>
          </p:nvSpPr>
          <p:spPr>
            <a:xfrm>
              <a:off x="793705" y="461261"/>
              <a:ext cx="1151565" cy="412455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8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Segoe UI Semibold" panose="020B0702040204020203" pitchFamily="34" charset="0"/>
                </a:rPr>
                <a:t>Training</a:t>
              </a: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5EAD0232-CBFC-3D5A-4241-DF1C2FC3CBE1}"/>
              </a:ext>
            </a:extLst>
          </p:cNvPr>
          <p:cNvSpPr/>
          <p:nvPr/>
        </p:nvSpPr>
        <p:spPr>
          <a:xfrm>
            <a:off x="4222309" y="2321900"/>
            <a:ext cx="2398182" cy="1420252"/>
          </a:xfrm>
          <a:prstGeom prst="rect">
            <a:avLst/>
          </a:prstGeom>
          <a:solidFill>
            <a:schemeClr val="bg1"/>
          </a:solidFill>
          <a:ln w="635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55B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ustomer</a:t>
            </a:r>
          </a:p>
          <a:p>
            <a:pPr marL="112713" marR="0" lvl="0" indent="-112713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03E4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rganizations that purchase our product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3E48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112713" marR="0" lvl="0" indent="-112713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55B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lationships</a:t>
            </a:r>
          </a:p>
          <a:p>
            <a:pPr marL="569913" lvl="1" indent="-112713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Segoe UI"/>
              </a:rPr>
              <a:t>Products (sale)</a:t>
            </a:r>
          </a:p>
          <a:p>
            <a:pPr marL="569913" lvl="1" indent="-112713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Employee (salesperson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508ABD7-65F1-961D-A959-DF8A83EDCE59}"/>
              </a:ext>
            </a:extLst>
          </p:cNvPr>
          <p:cNvSpPr/>
          <p:nvPr/>
        </p:nvSpPr>
        <p:spPr>
          <a:xfrm>
            <a:off x="9708729" y="2486984"/>
            <a:ext cx="2142609" cy="1135259"/>
          </a:xfrm>
          <a:prstGeom prst="rect">
            <a:avLst/>
          </a:prstGeom>
          <a:solidFill>
            <a:schemeClr val="bg1"/>
          </a:solidFill>
          <a:ln w="635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55B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duct</a:t>
            </a:r>
          </a:p>
          <a:p>
            <a:pPr marL="112713" marR="0" lvl="0" indent="-112713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03E4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bjects we sell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3E48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112713" marR="0" lvl="0" indent="-112713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55B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lationships</a:t>
            </a:r>
          </a:p>
          <a:p>
            <a:pPr marL="569913" lvl="1" indent="-112713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Segoe UI"/>
              </a:rPr>
              <a:t>Customer(sale)</a:t>
            </a:r>
          </a:p>
          <a:p>
            <a:pPr marL="569913" lvl="1" indent="-112713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Warehouse (location)</a:t>
            </a:r>
          </a:p>
          <a:p>
            <a:pPr lvl="1">
              <a:spcBef>
                <a:spcPts val="200"/>
              </a:spcBef>
              <a:spcAft>
                <a:spcPts val="200"/>
              </a:spcAft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B7DD48-13C7-3DB4-9D04-556383FBCF9B}"/>
              </a:ext>
            </a:extLst>
          </p:cNvPr>
          <p:cNvSpPr/>
          <p:nvPr/>
        </p:nvSpPr>
        <p:spPr>
          <a:xfrm>
            <a:off x="4441233" y="4457464"/>
            <a:ext cx="2342194" cy="1521407"/>
          </a:xfrm>
          <a:prstGeom prst="rect">
            <a:avLst/>
          </a:prstGeom>
          <a:solidFill>
            <a:schemeClr val="bg1"/>
          </a:solidFill>
          <a:ln w="635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55B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Warehouse</a:t>
            </a:r>
          </a:p>
          <a:p>
            <a:pPr marL="112713" marR="0" lvl="0" indent="-112713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03E4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uildings where we store and from which we ship our product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3E48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112713" marR="0" lvl="0" indent="-112713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55B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lationships</a:t>
            </a:r>
          </a:p>
          <a:p>
            <a:pPr marL="569913" lvl="1" indent="-112713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Segoe UI"/>
              </a:rPr>
              <a:t>Product(location)</a:t>
            </a:r>
          </a:p>
          <a:p>
            <a:pPr marL="569913" lvl="1" indent="-112713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Segoe UI"/>
              </a:rPr>
              <a:t>Stor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2A2A220-7234-1AAD-2860-70B140CBC37B}"/>
              </a:ext>
            </a:extLst>
          </p:cNvPr>
          <p:cNvSpPr/>
          <p:nvPr/>
        </p:nvSpPr>
        <p:spPr>
          <a:xfrm>
            <a:off x="9571854" y="4398717"/>
            <a:ext cx="1661260" cy="878971"/>
          </a:xfrm>
          <a:prstGeom prst="rect">
            <a:avLst/>
          </a:prstGeom>
          <a:solidFill>
            <a:schemeClr val="bg1"/>
          </a:solidFill>
          <a:ln w="635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55B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mployee</a:t>
            </a:r>
          </a:p>
          <a:p>
            <a:pPr marL="112713" marR="0" lvl="0" indent="-112713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03E4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alesperson</a:t>
            </a:r>
          </a:p>
          <a:p>
            <a:pPr marL="112713" marR="0" lvl="0" indent="-112713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55B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lationships</a:t>
            </a:r>
          </a:p>
          <a:p>
            <a:pPr marL="569913" lvl="1" indent="-112713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Segoe UI"/>
              </a:rPr>
              <a:t>Customer (sale)</a:t>
            </a:r>
          </a:p>
          <a:p>
            <a:pPr lvl="1">
              <a:spcBef>
                <a:spcPts val="200"/>
              </a:spcBef>
              <a:spcAft>
                <a:spcPts val="200"/>
              </a:spcAft>
              <a:defRPr/>
            </a:pPr>
            <a:endParaRPr lang="en-US" sz="1000" dirty="0">
              <a:latin typeface="Segoe UI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EA593F6-CE19-117D-4C08-9E915A593C48}"/>
              </a:ext>
            </a:extLst>
          </p:cNvPr>
          <p:cNvGrpSpPr/>
          <p:nvPr/>
        </p:nvGrpSpPr>
        <p:grpSpPr>
          <a:xfrm>
            <a:off x="8579300" y="3089316"/>
            <a:ext cx="969586" cy="969586"/>
            <a:chOff x="8672424" y="2186547"/>
            <a:chExt cx="969586" cy="969586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5B0F0410-4D2F-BF5C-A032-3D7FC86E4278}"/>
                </a:ext>
              </a:extLst>
            </p:cNvPr>
            <p:cNvSpPr/>
            <p:nvPr/>
          </p:nvSpPr>
          <p:spPr>
            <a:xfrm>
              <a:off x="8672424" y="2186547"/>
              <a:ext cx="969586" cy="969586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EDE59808-AF23-5719-CA52-6EDFBA4D20E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778184" y="2317552"/>
              <a:ext cx="738588" cy="738588"/>
            </a:xfrm>
            <a:prstGeom prst="rect">
              <a:avLst/>
            </a:prstGeom>
          </p:spPr>
        </p:pic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A3327A2-8144-83EC-755F-E82D7E2CAEDF}"/>
              </a:ext>
            </a:extLst>
          </p:cNvPr>
          <p:cNvGrpSpPr/>
          <p:nvPr/>
        </p:nvGrpSpPr>
        <p:grpSpPr>
          <a:xfrm>
            <a:off x="6394413" y="3054614"/>
            <a:ext cx="969586" cy="969586"/>
            <a:chOff x="6551543" y="2119809"/>
            <a:chExt cx="969586" cy="969586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3BD16174-3F37-B0AE-1F95-CC815FF6D055}"/>
                </a:ext>
              </a:extLst>
            </p:cNvPr>
            <p:cNvSpPr/>
            <p:nvPr/>
          </p:nvSpPr>
          <p:spPr>
            <a:xfrm>
              <a:off x="6551543" y="2119809"/>
              <a:ext cx="969586" cy="969586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6" name="Graphic 25" descr="Office worker female outline">
              <a:extLst>
                <a:ext uri="{FF2B5EF4-FFF2-40B4-BE49-F238E27FC236}">
                  <a16:creationId xmlns:a16="http://schemas.microsoft.com/office/drawing/2014/main" id="{8632DDD9-9221-C9F6-7D18-86AACFC4A03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642842" y="2210191"/>
              <a:ext cx="788848" cy="788848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B81EEC2E-A9DB-4BDE-B406-5ACC1FD2884F}"/>
              </a:ext>
            </a:extLst>
          </p:cNvPr>
          <p:cNvGrpSpPr/>
          <p:nvPr/>
        </p:nvGrpSpPr>
        <p:grpSpPr>
          <a:xfrm>
            <a:off x="6761168" y="4559195"/>
            <a:ext cx="969586" cy="969586"/>
            <a:chOff x="6573076" y="3865515"/>
            <a:chExt cx="969586" cy="969586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B4E55696-EFC9-BA4B-C3FD-31C539A56433}"/>
                </a:ext>
              </a:extLst>
            </p:cNvPr>
            <p:cNvSpPr/>
            <p:nvPr/>
          </p:nvSpPr>
          <p:spPr>
            <a:xfrm>
              <a:off x="6573076" y="3865515"/>
              <a:ext cx="969586" cy="969586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9" name="Graphic 28" descr="Warehouse outline">
              <a:extLst>
                <a:ext uri="{FF2B5EF4-FFF2-40B4-BE49-F238E27FC236}">
                  <a16:creationId xmlns:a16="http://schemas.microsoft.com/office/drawing/2014/main" id="{FE1B4E02-B57F-743B-E441-F066AA1EBD7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695425" y="3987864"/>
              <a:ext cx="724888" cy="724888"/>
            </a:xfrm>
            <a:prstGeom prst="rect">
              <a:avLst/>
            </a:prstGeom>
          </p:spPr>
        </p:pic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C8FB045-6BB7-BA95-A233-AD4E419955C4}"/>
              </a:ext>
            </a:extLst>
          </p:cNvPr>
          <p:cNvGrpSpPr/>
          <p:nvPr/>
        </p:nvGrpSpPr>
        <p:grpSpPr>
          <a:xfrm>
            <a:off x="8321752" y="4559195"/>
            <a:ext cx="969586" cy="969586"/>
            <a:chOff x="8675840" y="3856061"/>
            <a:chExt cx="969586" cy="969586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CFE16F1-A0F1-4054-180C-3BC25EA0F896}"/>
                </a:ext>
              </a:extLst>
            </p:cNvPr>
            <p:cNvSpPr/>
            <p:nvPr/>
          </p:nvSpPr>
          <p:spPr>
            <a:xfrm>
              <a:off x="8675840" y="3856061"/>
              <a:ext cx="969586" cy="969586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0" name="Graphic 29" descr="Office worker male outline">
              <a:extLst>
                <a:ext uri="{FF2B5EF4-FFF2-40B4-BE49-F238E27FC236}">
                  <a16:creationId xmlns:a16="http://schemas.microsoft.com/office/drawing/2014/main" id="{D87A382E-DCC6-CAFA-CFCC-8BEAD1FE059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798655" y="3997694"/>
              <a:ext cx="723956" cy="723956"/>
            </a:xfrm>
            <a:prstGeom prst="rect">
              <a:avLst/>
            </a:prstGeom>
          </p:spPr>
        </p:pic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ADE379A2-3298-FB7C-DB2B-549CF779D4C8}"/>
              </a:ext>
            </a:extLst>
          </p:cNvPr>
          <p:cNvSpPr txBox="1"/>
          <p:nvPr/>
        </p:nvSpPr>
        <p:spPr>
          <a:xfrm>
            <a:off x="654022" y="5754722"/>
            <a:ext cx="1002601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latin typeface="Segoe UI Light" charset="0"/>
                <a:cs typeface="Segoe UI Light" charset="0"/>
              </a:rPr>
              <a:t>The conceptual data model often requires the involvement of business stakeholders and domain experts.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020DF1F-C9DE-7780-FEA9-DC02CC662459}"/>
              </a:ext>
            </a:extLst>
          </p:cNvPr>
          <p:cNvSpPr txBox="1"/>
          <p:nvPr/>
        </p:nvSpPr>
        <p:spPr>
          <a:xfrm>
            <a:off x="704018" y="1740095"/>
            <a:ext cx="3561771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US" dirty="0">
                <a:cs typeface="Segoe UI Semibold" panose="020B0702040204020203" pitchFamily="34" charset="0"/>
              </a:rPr>
              <a:t>Model El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Ent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Attribu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Relationships</a:t>
            </a:r>
          </a:p>
          <a:p>
            <a:pPr>
              <a:spcBef>
                <a:spcPts val="1200"/>
              </a:spcBef>
            </a:pPr>
            <a:endParaRPr lang="en-US" sz="1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>
              <a:spcAft>
                <a:spcPts val="1200"/>
              </a:spcAft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A conceptual model can help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Organize scop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Define business concepts / rules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840753FB-EE30-4898-ECCF-5EE9AB0CB3D5}"/>
              </a:ext>
            </a:extLst>
          </p:cNvPr>
          <p:cNvGrpSpPr/>
          <p:nvPr/>
        </p:nvGrpSpPr>
        <p:grpSpPr>
          <a:xfrm>
            <a:off x="7507875" y="2236283"/>
            <a:ext cx="969586" cy="969586"/>
            <a:chOff x="7789716" y="1849769"/>
            <a:chExt cx="969586" cy="969586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4DBEF27D-4DFE-6476-A141-611FFA4552A5}"/>
                </a:ext>
              </a:extLst>
            </p:cNvPr>
            <p:cNvSpPr/>
            <p:nvPr/>
          </p:nvSpPr>
          <p:spPr>
            <a:xfrm>
              <a:off x="7789716" y="1849769"/>
              <a:ext cx="969586" cy="969586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58" name="Graphic 57" descr="Monthly calendar outline">
              <a:extLst>
                <a:ext uri="{FF2B5EF4-FFF2-40B4-BE49-F238E27FC236}">
                  <a16:creationId xmlns:a16="http://schemas.microsoft.com/office/drawing/2014/main" id="{856FA57E-6D53-AF7A-5518-6BC02E3B34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915637" y="1980242"/>
              <a:ext cx="706847" cy="706847"/>
            </a:xfrm>
            <a:prstGeom prst="rect">
              <a:avLst/>
            </a:prstGeom>
          </p:spPr>
        </p:pic>
      </p:grpSp>
      <p:sp>
        <p:nvSpPr>
          <p:cNvPr id="59" name="Rectangle 58">
            <a:extLst>
              <a:ext uri="{FF2B5EF4-FFF2-40B4-BE49-F238E27FC236}">
                <a16:creationId xmlns:a16="http://schemas.microsoft.com/office/drawing/2014/main" id="{6E732337-3F42-BBBB-CEB0-B266ED685ACC}"/>
              </a:ext>
            </a:extLst>
          </p:cNvPr>
          <p:cNvSpPr/>
          <p:nvPr/>
        </p:nvSpPr>
        <p:spPr>
          <a:xfrm>
            <a:off x="6937005" y="1085939"/>
            <a:ext cx="2359661" cy="960369"/>
          </a:xfrm>
          <a:prstGeom prst="rect">
            <a:avLst/>
          </a:prstGeom>
          <a:noFill/>
          <a:ln w="635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rgbClr val="0055B8"/>
                </a:solidFill>
                <a:latin typeface="Segoe UI"/>
              </a:rPr>
              <a:t>Dat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55B8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112713" indent="-112713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55B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ttributes: </a:t>
            </a:r>
          </a:p>
          <a:p>
            <a:pPr marL="569913" lvl="1" indent="-112713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Segoe UI"/>
              </a:rPr>
              <a:t>Year, Quarter, Month, Day</a:t>
            </a:r>
          </a:p>
          <a:p>
            <a:pPr marL="569913" lvl="1" indent="-112713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Holiday, Weekend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55B8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95B9AA1B-EDF1-9C79-9E08-FCB2FC59A2AF}"/>
              </a:ext>
            </a:extLst>
          </p:cNvPr>
          <p:cNvSpPr/>
          <p:nvPr/>
        </p:nvSpPr>
        <p:spPr>
          <a:xfrm>
            <a:off x="7083698" y="3130760"/>
            <a:ext cx="1819217" cy="1863951"/>
          </a:xfrm>
          <a:prstGeom prst="ellipse">
            <a:avLst/>
          </a:prstGeom>
          <a:noFill/>
          <a:ln w="9525">
            <a:solidFill>
              <a:schemeClr val="accent2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69" name="Graphic 68" descr="Bar graph with upward trend outline">
            <a:extLst>
              <a:ext uri="{FF2B5EF4-FFF2-40B4-BE49-F238E27FC236}">
                <a16:creationId xmlns:a16="http://schemas.microsoft.com/office/drawing/2014/main" id="{3DBB81D8-04DD-4A87-0534-6DFA6ADBC63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506645" y="3511543"/>
            <a:ext cx="914400" cy="914400"/>
          </a:xfrm>
          <a:prstGeom prst="rect">
            <a:avLst/>
          </a:prstGeom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F37B3F77-4319-3A52-B37A-5A4550E92CF8}"/>
              </a:ext>
            </a:extLst>
          </p:cNvPr>
          <p:cNvSpPr txBox="1"/>
          <p:nvPr/>
        </p:nvSpPr>
        <p:spPr>
          <a:xfrm>
            <a:off x="7646125" y="4331496"/>
            <a:ext cx="7239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>
                <a:solidFill>
                  <a:srgbClr val="0055B8"/>
                </a:solidFill>
                <a:latin typeface="Segoe UI"/>
              </a:rPr>
              <a:t>Sales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55B8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158888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E1E01D56-0CD5-4638-836B-F57EB9AA5312}"/>
              </a:ext>
            </a:extLst>
          </p:cNvPr>
          <p:cNvSpPr txBox="1">
            <a:spLocks/>
          </p:cNvSpPr>
          <p:nvPr/>
        </p:nvSpPr>
        <p:spPr>
          <a:xfrm>
            <a:off x="9677400" y="6637020"/>
            <a:ext cx="2842260" cy="22098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defPPr>
              <a:defRPr lang="en-US"/>
            </a:defPPr>
            <a:lvl1pPr marL="0" algn="ctr" defTabSz="914367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1000" kern="1200" dirty="0" smtClean="0">
                <a:solidFill>
                  <a:srgbClr val="50505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dirty="0"/>
              <a:t>© 2021 Microsoft All rights reserved.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1F9F411-4402-4D1E-8F8B-469987EF8C0C}"/>
              </a:ext>
            </a:extLst>
          </p:cNvPr>
          <p:cNvSpPr txBox="1"/>
          <p:nvPr/>
        </p:nvSpPr>
        <p:spPr>
          <a:xfrm>
            <a:off x="83820" y="6637020"/>
            <a:ext cx="2019300" cy="220980"/>
          </a:xfrm>
          <a:prstGeom prst="rect">
            <a:avLst/>
          </a:prstGeom>
          <a:solidFill>
            <a:schemeClr val="bg1"/>
          </a:solidFill>
        </p:spPr>
        <p:txBody>
          <a:bodyPr wrap="square" lIns="182880" tIns="146304" rIns="182880" bIns="146304" rtlCol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0CE385A-5595-4FF0-BDA2-F5D500904ABF}"/>
              </a:ext>
            </a:extLst>
          </p:cNvPr>
          <p:cNvSpPr/>
          <p:nvPr/>
        </p:nvSpPr>
        <p:spPr>
          <a:xfrm>
            <a:off x="841020" y="1446084"/>
            <a:ext cx="11037454" cy="86716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20000"/>
              </a:lnSpc>
            </a:pPr>
            <a:r>
              <a:rPr kumimoji="0" lang="en-US" sz="22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B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y the end of this course, you will be able to</a:t>
            </a:r>
            <a:r>
              <a:rPr kumimoji="0" lang="en-US" sz="2000" b="0" i="0" u="none" strike="noStrike" kern="0" cap="none" spc="0" normalizeH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 use M to </a:t>
            </a:r>
            <a:r>
              <a:rPr lang="en-US" sz="2000" dirty="0">
                <a:solidFill>
                  <a:schemeClr val="tx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reate formulas and calculations in a </a:t>
            </a:r>
            <a:r>
              <a:rPr lang="en-US" sz="2000" i="1" dirty="0">
                <a:solidFill>
                  <a:schemeClr val="tx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wer BI Desktop </a:t>
            </a:r>
            <a:r>
              <a:rPr lang="en-US" sz="2000" dirty="0">
                <a:solidFill>
                  <a:schemeClr val="tx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 model.</a:t>
            </a:r>
            <a:r>
              <a:rPr lang="en-US" sz="2000" kern="0" dirty="0">
                <a:solidFill>
                  <a:schemeClr val="tx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 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 Specifically, you will be </a:t>
            </a:r>
            <a:r>
              <a:rPr lang="en-US" sz="2000" kern="0" dirty="0">
                <a:solidFill>
                  <a:schemeClr val="tx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bl</a:t>
            </a:r>
            <a:r>
              <a:rPr lang="en-US" sz="2200" kern="0" dirty="0">
                <a:solidFill>
                  <a:schemeClr val="tx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 to: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C4787E7-03EE-4BF4-BDCD-C212B5301727}"/>
              </a:ext>
            </a:extLst>
          </p:cNvPr>
          <p:cNvSpPr txBox="1"/>
          <p:nvPr/>
        </p:nvSpPr>
        <p:spPr>
          <a:xfrm>
            <a:off x="455626" y="2611026"/>
            <a:ext cx="11280747" cy="3867462"/>
          </a:xfrm>
          <a:prstGeom prst="rect">
            <a:avLst/>
          </a:prstGeom>
          <a:solidFill>
            <a:schemeClr val="bg1"/>
          </a:solidFill>
        </p:spPr>
        <p:txBody>
          <a:bodyPr wrap="square" lIns="182880" tIns="146304" rIns="182880" bIns="146304" numCol="1" spcCol="640080" rtlCol="0" anchor="t">
            <a:noAutofit/>
          </a:bodyPr>
          <a:lstStyle/>
          <a:p>
            <a:pPr marL="800100" lvl="1" indent="-34290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derstand the </a:t>
            </a:r>
            <a:r>
              <a:rPr lang="en-US" i="1" dirty="0">
                <a:solidFill>
                  <a:schemeClr val="tx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wer BI Desktop 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 model, its components and most effective schemas  </a:t>
            </a:r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scribe concepts of calculated columns and measures</a:t>
            </a:r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reate queries using M </a:t>
            </a:r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derstand the use of functions</a:t>
            </a:r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reate and optimize a data model</a:t>
            </a:r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derstand the consequences of data model design decisions</a:t>
            </a:r>
          </a:p>
          <a:p>
            <a:pPr>
              <a:lnSpc>
                <a:spcPct val="120000"/>
              </a:lnSpc>
              <a:spcAft>
                <a:spcPts val="1800"/>
              </a:spcAft>
            </a:pPr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pPr marL="342900" marR="0" lvl="0" indent="-34290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E87FF41A-757B-0977-A8EA-3CA219A767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Course Objectives</a:t>
            </a:r>
            <a:br>
              <a:rPr lang="en-US" sz="3600" dirty="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endParaRPr lang="en-US" sz="3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5613491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3351E94-1FD5-4EB2-B357-4F46A556E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2800" cap="none" normalizeH="0" baseline="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Components of a data model – Fact Tab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794026-7015-4BF6-ADC7-4E768BE3724C}"/>
              </a:ext>
            </a:extLst>
          </p:cNvPr>
          <p:cNvSpPr/>
          <p:nvPr/>
        </p:nvSpPr>
        <p:spPr>
          <a:xfrm>
            <a:off x="8575845" y="1748119"/>
            <a:ext cx="3538728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Fact Table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Contains measurements, metrics, facts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(or items to be aggregated)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 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</a:br>
            <a:r>
              <a:rPr lang="en-US" sz="1600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  <a:t>o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f a business proces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600" kern="0" dirty="0">
              <a:gradFill>
                <a:gsLst>
                  <a:gs pos="125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 Light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</a:rPr>
              <a:t>Examples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cs typeface="Segoe UI Semibold" panose="020B0702040204020203" pitchFamily="34" charset="0"/>
              </a:rPr>
              <a:t>:</a:t>
            </a:r>
          </a:p>
          <a:p>
            <a:pPr marL="800100" marR="0" lvl="1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Transactions</a:t>
            </a:r>
          </a:p>
          <a:p>
            <a:pPr marL="800100" marR="0" lvl="1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Sales Revenue</a:t>
            </a:r>
          </a:p>
          <a:p>
            <a:pPr marL="800100" marR="0" lvl="1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Units</a:t>
            </a:r>
          </a:p>
          <a:p>
            <a:pPr marL="800100" marR="0" lvl="1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Cost</a:t>
            </a:r>
            <a:br>
              <a:rPr kumimoji="0" lang="en-US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</a:br>
            <a:endParaRPr kumimoji="0" lang="en-US" sz="1200" b="0" i="0" u="none" strike="noStrike" kern="0" cap="none" spc="0" normalizeH="0" baseline="0" noProof="0" dirty="0">
              <a:ln>
                <a:noFill/>
              </a:ln>
              <a:gradFill>
                <a:gsLst>
                  <a:gs pos="125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 Light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Measures are usually sliceable. </a:t>
            </a: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600" kern="0" dirty="0">
              <a:gradFill>
                <a:gsLst>
                  <a:gs pos="125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 Light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</a:rPr>
              <a:t>Examples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: </a:t>
            </a:r>
          </a:p>
          <a:p>
            <a:pPr marL="800100" lvl="1" indent="-342900">
              <a:buFont typeface="Courier New" panose="02070309020205020404" pitchFamily="49" charset="0"/>
              <a:buChar char="o"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By Month, By Customer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gradFill>
                <a:gsLst>
                  <a:gs pos="125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 Ligh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B0DFAEF-3E5E-4DE8-A80B-99767ABDED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337" y="1803870"/>
            <a:ext cx="7814853" cy="3520263"/>
          </a:xfrm>
          <a:prstGeom prst="rect">
            <a:avLst/>
          </a:prstGeom>
        </p:spPr>
      </p:pic>
      <p:sp>
        <p:nvSpPr>
          <p:cNvPr id="11" name="Rectangular Callout 10">
            <a:extLst>
              <a:ext uri="{FF2B5EF4-FFF2-40B4-BE49-F238E27FC236}">
                <a16:creationId xmlns:a16="http://schemas.microsoft.com/office/drawing/2014/main" id="{20B767E8-629D-47AC-BAB2-C1E387CA89A1}"/>
              </a:ext>
            </a:extLst>
          </p:cNvPr>
          <p:cNvSpPr/>
          <p:nvPr/>
        </p:nvSpPr>
        <p:spPr bwMode="auto">
          <a:xfrm>
            <a:off x="2434093" y="1253570"/>
            <a:ext cx="843323" cy="713762"/>
          </a:xfrm>
          <a:prstGeom prst="wedgeRectCallout">
            <a:avLst>
              <a:gd name="adj1" fmla="val 79356"/>
              <a:gd name="adj2" fmla="val 111591"/>
            </a:avLst>
          </a:prstGeom>
          <a:solidFill>
            <a:srgbClr val="F2C8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act</a:t>
            </a:r>
          </a:p>
          <a:p>
            <a:pPr marL="0" marR="0" lvl="0" indent="0" algn="ctr" defTabSz="9142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ab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C11287-41D0-8EB8-6A16-93CDBCE10CE1}"/>
              </a:ext>
            </a:extLst>
          </p:cNvPr>
          <p:cNvSpPr txBox="1"/>
          <p:nvPr/>
        </p:nvSpPr>
        <p:spPr>
          <a:xfrm>
            <a:off x="712002" y="5908614"/>
            <a:ext cx="88712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A fact table has two types of columns:  Facts and Foreign Key Columns</a:t>
            </a:r>
          </a:p>
        </p:txBody>
      </p:sp>
    </p:spTree>
    <p:extLst>
      <p:ext uri="{BB962C8B-B14F-4D97-AF65-F5344CB8AC3E}">
        <p14:creationId xmlns:p14="http://schemas.microsoft.com/office/powerpoint/2010/main" val="2545724319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3351E94-1FD5-4EB2-B357-4F46A556E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2800" cap="none" normalizeH="0" baseline="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Components of a data model – Dimension Tab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794026-7015-4BF6-ADC7-4E768BE3724C}"/>
              </a:ext>
            </a:extLst>
          </p:cNvPr>
          <p:cNvSpPr/>
          <p:nvPr/>
        </p:nvSpPr>
        <p:spPr>
          <a:xfrm>
            <a:off x="8465820" y="1659529"/>
            <a:ext cx="3657600" cy="2431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2000" b="1" kern="0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im Table</a:t>
            </a:r>
            <a:endParaRPr lang="en-US" sz="2000" b="1" kern="0" dirty="0">
              <a:gradFill>
                <a:gsLst>
                  <a:gs pos="125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0">
              <a:defRPr/>
            </a:pPr>
            <a:r>
              <a:rPr lang="en-US" sz="1600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  <a:t>Contains descriptive attributes that:</a:t>
            </a:r>
          </a:p>
          <a:p>
            <a:pPr lvl="0">
              <a:defRPr/>
            </a:pPr>
            <a:endParaRPr lang="en-US" sz="1600" kern="0" dirty="0">
              <a:gradFill>
                <a:gsLst>
                  <a:gs pos="125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 Light"/>
            </a:endParaRP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  <a:t>Define how a fact should roll up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  <a:t>Constitute report filters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  <a:t>Define business hierarchies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endParaRPr lang="en-US" sz="1600" kern="0" dirty="0">
              <a:gradFill>
                <a:gsLst>
                  <a:gs pos="125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 Light"/>
            </a:endParaRP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endParaRPr lang="en-US" kern="0" dirty="0">
              <a:gradFill>
                <a:gsLst>
                  <a:gs pos="125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 Light"/>
            </a:endParaRPr>
          </a:p>
          <a:p>
            <a:pPr lvl="0">
              <a:defRPr/>
            </a:pPr>
            <a:r>
              <a:rPr lang="en-US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</a:rPr>
              <a:t>Examples: </a:t>
            </a:r>
            <a:r>
              <a:rPr lang="en-US" sz="1400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  <a:t>By month, By Customer, By Geo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CD04FD6-2B1C-4CF4-8A82-4F55A101BB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2555" y="1289787"/>
            <a:ext cx="7536577" cy="376527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B34203F-3BA0-5EAD-5EAB-AC4EA0825D2D}"/>
              </a:ext>
            </a:extLst>
          </p:cNvPr>
          <p:cNvSpPr txBox="1"/>
          <p:nvPr/>
        </p:nvSpPr>
        <p:spPr>
          <a:xfrm>
            <a:off x="1870710" y="5568213"/>
            <a:ext cx="776097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“Dimensions provide the “who, what, where, when, why, and how” context surrounding a business process event</a:t>
            </a:r>
            <a:r>
              <a:rPr lang="nl-NL" dirty="0"/>
              <a:t>”</a:t>
            </a:r>
          </a:p>
          <a:p>
            <a:r>
              <a:rPr lang="nl-NL" dirty="0"/>
              <a:t>						</a:t>
            </a:r>
            <a:r>
              <a:rPr lang="en-US" dirty="0"/>
              <a:t>- Ralph Kimbal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684652527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3351E94-1FD5-4EB2-B357-4F46A556E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2800" cap="none" normalizeH="0" baseline="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Table Types Comparison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F542844E-99E1-75BD-1102-59A935D04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39086364"/>
              </p:ext>
            </p:extLst>
          </p:nvPr>
        </p:nvGraphicFramePr>
        <p:xfrm>
          <a:off x="741494" y="1643380"/>
          <a:ext cx="10040806" cy="322072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655762">
                  <a:extLst>
                    <a:ext uri="{9D8B030D-6E8A-4147-A177-3AD203B41FA5}">
                      <a16:colId xmlns:a16="http://schemas.microsoft.com/office/drawing/2014/main" val="1858811642"/>
                    </a:ext>
                  </a:extLst>
                </a:gridCol>
                <a:gridCol w="3607304">
                  <a:extLst>
                    <a:ext uri="{9D8B030D-6E8A-4147-A177-3AD203B41FA5}">
                      <a16:colId xmlns:a16="http://schemas.microsoft.com/office/drawing/2014/main" val="3655754141"/>
                    </a:ext>
                  </a:extLst>
                </a:gridCol>
                <a:gridCol w="4777740">
                  <a:extLst>
                    <a:ext uri="{9D8B030D-6E8A-4147-A177-3AD203B41FA5}">
                      <a16:colId xmlns:a16="http://schemas.microsoft.com/office/drawing/2014/main" val="31958232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Dimension t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Fact tab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95575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NZ" sz="1600" b="1" kern="1200" dirty="0">
                          <a:solidFill>
                            <a:schemeClr val="tx1"/>
                          </a:solidFill>
                        </a:rPr>
                        <a:t>Purpose</a:t>
                      </a:r>
                      <a:endParaRPr lang="en-US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NZ" sz="1600" b="0" kern="1200" dirty="0">
                          <a:solidFill>
                            <a:schemeClr val="tx1"/>
                          </a:solidFill>
                        </a:rPr>
                        <a:t>Stores business entities</a:t>
                      </a:r>
                    </a:p>
                    <a:p>
                      <a:pPr marL="0" algn="l" defTabSz="914400" rtl="0" eaLnBrk="1" latinLnBrk="0" hangingPunct="1"/>
                      <a:r>
                        <a:rPr lang="en-NZ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scriptive</a:t>
                      </a:r>
                      <a:endParaRPr lang="en-US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NZ" sz="1600" b="0" kern="1200" dirty="0">
                          <a:solidFill>
                            <a:schemeClr val="tx1"/>
                          </a:solidFill>
                        </a:rPr>
                        <a:t>Stores events or observations</a:t>
                      </a:r>
                    </a:p>
                    <a:p>
                      <a:pPr marL="0" algn="l" defTabSz="914400" rtl="0" eaLnBrk="1" latinLnBrk="0" hangingPunct="1"/>
                      <a:r>
                        <a:rPr lang="en-NZ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actual</a:t>
                      </a:r>
                      <a:endParaRPr lang="en-US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99192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NZ" sz="1600" b="1" kern="1200" dirty="0">
                          <a:solidFill>
                            <a:schemeClr val="tx1"/>
                          </a:solidFill>
                        </a:rPr>
                        <a:t>Structure</a:t>
                      </a:r>
                      <a:endParaRPr lang="en-US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NZ" sz="1600" b="0" kern="1200" dirty="0">
                          <a:solidFill>
                            <a:schemeClr val="tx1"/>
                          </a:solidFill>
                        </a:rPr>
                        <a:t>Includes a key column and descriptive columns for filtering and grouping</a:t>
                      </a:r>
                      <a:endParaRPr lang="en-US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NZ" sz="1600" b="0" kern="1200" dirty="0">
                          <a:solidFill>
                            <a:schemeClr val="tx1"/>
                          </a:solidFill>
                        </a:rPr>
                        <a:t>Includes dimension key columns and numeric measure columns that can be summarized</a:t>
                      </a:r>
                      <a:endParaRPr lang="en-US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8194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NZ" sz="1600" b="1" kern="1200" dirty="0">
                          <a:solidFill>
                            <a:schemeClr val="tx1"/>
                          </a:solidFill>
                        </a:rPr>
                        <a:t>Data volume</a:t>
                      </a:r>
                      <a:endParaRPr lang="en-US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NZ" sz="1600" b="0" kern="1200" dirty="0">
                          <a:solidFill>
                            <a:schemeClr val="tx1"/>
                          </a:solidFill>
                        </a:rPr>
                        <a:t>Typically, contains fewer rows </a:t>
                      </a:r>
                    </a:p>
                    <a:p>
                      <a:pPr marL="0" algn="l" defTabSz="914400" rtl="0" eaLnBrk="1" latinLnBrk="0" hangingPunct="1"/>
                      <a:r>
                        <a:rPr lang="en-NZ" sz="1600" b="0" kern="1200" dirty="0">
                          <a:solidFill>
                            <a:schemeClr val="tx1"/>
                          </a:solidFill>
                        </a:rPr>
                        <a:t>(relative to fact tables)</a:t>
                      </a:r>
                      <a:endParaRPr lang="en-US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0" kern="1200" dirty="0">
                          <a:solidFill>
                            <a:schemeClr val="tx1"/>
                          </a:solidFill>
                        </a:rPr>
                        <a:t>Can contain numerous rows</a:t>
                      </a:r>
                      <a:endParaRPr lang="en-US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6489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ha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hort &amp; Wide  </a:t>
                      </a:r>
                      <a:r>
                        <a:rPr lang="en-NZ" sz="1600" b="0" kern="1200" dirty="0">
                          <a:solidFill>
                            <a:schemeClr val="tx1"/>
                          </a:solidFill>
                        </a:rPr>
                        <a:t>(relative to fact tables)</a:t>
                      </a:r>
                      <a:endParaRPr lang="en-US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ng &amp; Narro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28014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ey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ique Primary Key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ultiple Foreign Key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96217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NZ" sz="1600" b="1" kern="1200" dirty="0">
                          <a:solidFill>
                            <a:schemeClr val="tx1"/>
                          </a:solidFill>
                        </a:rPr>
                        <a:t>Query purpose</a:t>
                      </a:r>
                      <a:endParaRPr lang="en-US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0" kern="1200" dirty="0">
                          <a:solidFill>
                            <a:schemeClr val="tx1"/>
                          </a:solidFill>
                        </a:rPr>
                        <a:t>To filter and group</a:t>
                      </a:r>
                      <a:endParaRPr lang="en-US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0" kern="1200" dirty="0">
                          <a:solidFill>
                            <a:schemeClr val="tx1"/>
                          </a:solidFill>
                        </a:rPr>
                        <a:t>To summarize</a:t>
                      </a:r>
                      <a:endParaRPr lang="en-US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51035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3764808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3351E94-1FD5-4EB2-B357-4F46A556E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2800" cap="none" normalizeH="0" baseline="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Components of a data model – Relationship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E5EF8C-65F8-4FD3-A8FE-F576753434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794026-7015-4BF6-ADC7-4E768BE3724C}"/>
              </a:ext>
            </a:extLst>
          </p:cNvPr>
          <p:cNvSpPr/>
          <p:nvPr/>
        </p:nvSpPr>
        <p:spPr>
          <a:xfrm>
            <a:off x="7692479" y="1605432"/>
            <a:ext cx="4034384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2000" b="1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Relationships</a:t>
            </a:r>
          </a:p>
          <a:p>
            <a:pPr lvl="0">
              <a:defRPr/>
            </a:pPr>
            <a:endParaRPr lang="en-US" sz="2000" kern="0" dirty="0">
              <a:gradFill>
                <a:gsLst>
                  <a:gs pos="125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  <a:defRPr/>
            </a:pPr>
            <a:r>
              <a:rPr lang="en-US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  <a:t>Connection between 2 tables (usually Fact &amp; Dim tables) using columns from each</a:t>
            </a:r>
          </a:p>
          <a:p>
            <a:pPr marL="342900" lvl="0" indent="-342900">
              <a:buFont typeface="Arial" panose="020B0604020202020204" pitchFamily="34" charset="0"/>
              <a:buChar char="•"/>
              <a:defRPr/>
            </a:pPr>
            <a:endParaRPr lang="en-US" kern="0" dirty="0">
              <a:gradFill>
                <a:gsLst>
                  <a:gs pos="125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 Light"/>
            </a:endParaRP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  <a:t>3 kinds of Relationships 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  <a:t>1 to Many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  <a:t>1 to 1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  <a:t>Many to Many</a:t>
            </a:r>
          </a:p>
          <a:p>
            <a:pPr marL="0" lvl="1">
              <a:defRPr/>
            </a:pPr>
            <a:r>
              <a:rPr lang="en-US" sz="1600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  <a:t>    </a:t>
            </a:r>
            <a:r>
              <a:rPr lang="en-US" sz="1400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  <a:t>(with a bridge table)</a:t>
            </a:r>
            <a:endParaRPr lang="en-US" kern="0" dirty="0">
              <a:gradFill>
                <a:gsLst>
                  <a:gs pos="125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 Light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8300610-0C46-4953-9470-2A3D1AA8C6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323" y="1681991"/>
            <a:ext cx="6647574" cy="3778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936867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3351E94-1FD5-4EB2-B357-4F46A556E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2800" cap="none" normalizeH="0" baseline="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Type of Data Mode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E5EF8C-65F8-4FD3-A8FE-F576753434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34</a:t>
            </a:fld>
            <a:endParaRPr lang="en-US"/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C421A2A7-44ED-90E6-0CC8-156E7D7AC9D3}"/>
              </a:ext>
            </a:extLst>
          </p:cNvPr>
          <p:cNvGraphicFramePr/>
          <p:nvPr/>
        </p:nvGraphicFramePr>
        <p:xfrm>
          <a:off x="2449062" y="1754438"/>
          <a:ext cx="6620510" cy="27893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2E8774D2-CF40-422F-9F10-E8EE8CA0B6D7}"/>
              </a:ext>
            </a:extLst>
          </p:cNvPr>
          <p:cNvSpPr txBox="1"/>
          <p:nvPr/>
        </p:nvSpPr>
        <p:spPr>
          <a:xfrm>
            <a:off x="800100" y="1209673"/>
            <a:ext cx="11139559" cy="5447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rPr>
              <a:t>Those are the most common model types used by Power BI other models can be supported.</a:t>
            </a:r>
          </a:p>
        </p:txBody>
      </p:sp>
    </p:spTree>
    <p:extLst>
      <p:ext uri="{BB962C8B-B14F-4D97-AF65-F5344CB8AC3E}">
        <p14:creationId xmlns:p14="http://schemas.microsoft.com/office/powerpoint/2010/main" val="3727179707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3351E94-1FD5-4EB2-B357-4F46A556E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2800" cap="none" normalizeH="0" baseline="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Flat or Denormalized schem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E5EF8C-65F8-4FD3-A8FE-F576753434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35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DD2FAC1-4998-4FEF-BCF7-B17F9D456BA2}"/>
              </a:ext>
            </a:extLst>
          </p:cNvPr>
          <p:cNvSpPr/>
          <p:nvPr/>
        </p:nvSpPr>
        <p:spPr>
          <a:xfrm>
            <a:off x="785930" y="1390259"/>
            <a:ext cx="1023729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All attributes for model exist in a single table</a:t>
            </a:r>
            <a:endParaRPr lang="en-US" sz="1600" kern="0" dirty="0">
              <a:gradFill>
                <a:gsLst>
                  <a:gs pos="125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 Light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Model has extra copies of data &gt; slow performance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Size of a flat table can blow up really quickly as data model becomes complex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gradFill>
                <a:gsLst>
                  <a:gs pos="125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0831D94-53F1-41E7-8E97-84688922CA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0211" y="2431888"/>
            <a:ext cx="10330996" cy="3857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745790"/>
      </p:ext>
    </p:extLst>
  </p:cSld>
  <p:clrMapOvr>
    <a:masterClrMapping/>
  </p:clrMapOvr>
  <p:transition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3351E94-1FD5-4EB2-B357-4F46A556E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defTabSz="914192">
              <a:defRPr/>
            </a:pPr>
            <a:r>
              <a:rPr lang="nl-NL" sz="2800" cap="none" normalizeH="0" baseline="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tar Schema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2659D0F-FE20-4C1E-A578-44D358624BB1}"/>
              </a:ext>
            </a:extLst>
          </p:cNvPr>
          <p:cNvSpPr/>
          <p:nvPr/>
        </p:nvSpPr>
        <p:spPr>
          <a:xfrm>
            <a:off x="7895334" y="2187774"/>
            <a:ext cx="3617813" cy="26468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 Light"/>
              </a:rPr>
              <a:t>Fact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 Light"/>
              </a:rPr>
              <a:t> table in the middle 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 Light"/>
              </a:rPr>
              <a:t>Surrounded by 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 Light"/>
              </a:rPr>
              <a:t>Dim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 Light"/>
              </a:rPr>
              <a:t>Looks like a ‘Star’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 Light"/>
              </a:rPr>
              <a:t>Fact table is the “Many” side of the (one to many) relationship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 Light"/>
              </a:rPr>
              <a:t>The table names should be consistent and meaningful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4C30717-6C02-456E-8F72-645DEF428E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0791" y="1514693"/>
            <a:ext cx="6494011" cy="4070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106573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3351E94-1FD5-4EB2-B357-4F46A556E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defTabSz="914192">
              <a:defRPr/>
            </a:pPr>
            <a:r>
              <a:rPr lang="nl-NL" sz="2800" cap="none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nowflake </a:t>
            </a:r>
            <a:r>
              <a:rPr lang="nl-NL" sz="2800" cap="none" normalizeH="0" baseline="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chema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D74FCF0-D8BC-4015-BEC0-6F6FAD2337BD}"/>
              </a:ext>
            </a:extLst>
          </p:cNvPr>
          <p:cNvSpPr/>
          <p:nvPr/>
        </p:nvSpPr>
        <p:spPr>
          <a:xfrm>
            <a:off x="7687221" y="2004924"/>
            <a:ext cx="3915666" cy="34624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  <a:t>Center is a Star schema</a:t>
            </a:r>
          </a:p>
          <a:p>
            <a:pPr marL="285750" indent="-285750"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  <a:t>Fact</a:t>
            </a:r>
            <a:r>
              <a:rPr lang="en-US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  <a:t> table in middle </a:t>
            </a:r>
          </a:p>
          <a:p>
            <a:pPr marL="342900" indent="-342900"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  <a:t>Surrounded by </a:t>
            </a:r>
            <a:r>
              <a:rPr lang="en-US" b="1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  <a:t>Dims</a:t>
            </a:r>
          </a:p>
          <a:p>
            <a:pPr marL="342900" indent="-342900"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  <a:t>Dims “snowflake” off of other Dims</a:t>
            </a:r>
          </a:p>
          <a:p>
            <a:pPr marL="285750" indent="-285750"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  <a:t>If you have many, it looks like a ‘Snowflake’</a:t>
            </a:r>
          </a:p>
          <a:p>
            <a:pPr marL="285750" indent="-285750"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</a:rPr>
              <a:t>Dim or Fact tables can be the “Many” side of the relationship</a:t>
            </a:r>
            <a:endParaRPr lang="en-US" sz="2400" kern="0" dirty="0">
              <a:gradFill>
                <a:gsLst>
                  <a:gs pos="125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 Light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C4718D2-6F1D-4E3A-9739-8CED2D97E1F3}"/>
              </a:ext>
            </a:extLst>
          </p:cNvPr>
          <p:cNvSpPr txBox="1"/>
          <p:nvPr/>
        </p:nvSpPr>
        <p:spPr>
          <a:xfrm>
            <a:off x="529719" y="4413552"/>
            <a:ext cx="179654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Snowflak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7684032-18A0-47D6-9B86-88EC316F53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6754" y="1717669"/>
            <a:ext cx="6181224" cy="3422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02916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3351E94-1FD5-4EB2-B357-4F46A556E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2800" cap="none" normalizeH="0" baseline="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Granularity &amp; Multiple Fac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401DFB4-7272-46C2-B573-94625E879FE5}"/>
              </a:ext>
            </a:extLst>
          </p:cNvPr>
          <p:cNvSpPr/>
          <p:nvPr/>
        </p:nvSpPr>
        <p:spPr>
          <a:xfrm>
            <a:off x="6873025" y="1480591"/>
            <a:ext cx="4358182" cy="31547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Grain (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</a:rPr>
              <a:t>granularity)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measures the level of detail in a tabl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gradFill>
                <a:gsLst>
                  <a:gs pos="125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 Light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Example:</a:t>
            </a:r>
          </a:p>
          <a:p>
            <a:pPr marL="742950" lvl="1" indent="-285750">
              <a:buFont typeface="Courier New" panose="02070309020205020404" pitchFamily="49" charset="0"/>
              <a:buChar char="o"/>
              <a:defRPr/>
            </a:pP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One row per order or per Item</a:t>
            </a:r>
          </a:p>
          <a:p>
            <a:pPr marL="742950" lvl="1" indent="-285750">
              <a:buFont typeface="Courier New" panose="02070309020205020404" pitchFamily="49" charset="0"/>
              <a:buChar char="o"/>
              <a:defRPr/>
            </a:pP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Daily or Monthly date grai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 dirty="0">
              <a:ln>
                <a:noFill/>
              </a:ln>
              <a:gradFill>
                <a:gsLst>
                  <a:gs pos="125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 Light"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If your facts have 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very different granularities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, split them into 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Multiple Fact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tables &amp; connect them to shared dimensions at the lowest common granularity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919AEF0-8183-430E-8819-D35B3CCEC123}"/>
              </a:ext>
            </a:extLst>
          </p:cNvPr>
          <p:cNvSpPr/>
          <p:nvPr/>
        </p:nvSpPr>
        <p:spPr>
          <a:xfrm>
            <a:off x="960792" y="5355358"/>
            <a:ext cx="6956778" cy="8386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b="1" kern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  <a:t>Sales</a:t>
            </a:r>
            <a:r>
              <a:rPr lang="en-US" kern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  <a:t> (Daily by Product)</a:t>
            </a:r>
            <a:br>
              <a:rPr lang="en-US" kern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</a:br>
            <a:endParaRPr lang="en-US" sz="1050" kern="0">
              <a:gradFill>
                <a:gsLst>
                  <a:gs pos="125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 Light"/>
            </a:endParaRPr>
          </a:p>
          <a:p>
            <a:pPr>
              <a:defRPr/>
            </a:pPr>
            <a:r>
              <a:rPr lang="en-US" b="1" kern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  <a:t>Budget</a:t>
            </a:r>
            <a:r>
              <a:rPr lang="en-US" kern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  <a:t> (Monthly by Product Category &amp; Product Segment)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40EB55A-A4AF-41D4-A2A9-B09DEE332D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0792" y="1964605"/>
            <a:ext cx="5650781" cy="2829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301554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6566A0-9C80-E89C-14C8-4C39C185E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3356" y="2123397"/>
            <a:ext cx="4449827" cy="609398"/>
          </a:xfrm>
        </p:spPr>
        <p:txBody>
          <a:bodyPr/>
          <a:lstStyle/>
          <a:p>
            <a:r>
              <a:rPr lang="en-US" sz="4400" cap="none" dirty="0">
                <a:latin typeface="Segoe UI Semibold" panose="020B0702040204020203" pitchFamily="34" charset="0"/>
              </a:rPr>
              <a:t>Data Modeling</a:t>
            </a:r>
            <a:endParaRPr lang="en-US" sz="4400" cap="non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47C03D-4EE7-5C3E-845B-DBDED40F8D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25115" y="2858763"/>
            <a:ext cx="4548068" cy="889539"/>
          </a:xfrm>
        </p:spPr>
        <p:txBody>
          <a:bodyPr/>
          <a:lstStyle/>
          <a:p>
            <a:r>
              <a:rPr lang="en-US" sz="4400" dirty="0"/>
              <a:t>Module 2 Lab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32B3B18-CA76-BE76-AFCE-465201C6BCE8}"/>
              </a:ext>
            </a:extLst>
          </p:cNvPr>
          <p:cNvGrpSpPr/>
          <p:nvPr/>
        </p:nvGrpSpPr>
        <p:grpSpPr>
          <a:xfrm>
            <a:off x="3825115" y="516429"/>
            <a:ext cx="4548068" cy="1062152"/>
            <a:chOff x="3825115" y="516429"/>
            <a:chExt cx="4548068" cy="1062152"/>
          </a:xfrm>
        </p:grpSpPr>
        <p:sp>
          <p:nvSpPr>
            <p:cNvPr id="4" name="Text Placeholder 1">
              <a:extLst>
                <a:ext uri="{FF2B5EF4-FFF2-40B4-BE49-F238E27FC236}">
                  <a16:creationId xmlns:a16="http://schemas.microsoft.com/office/drawing/2014/main" id="{F4539750-96A4-88EE-715A-7B20B75D2B4D}"/>
                </a:ext>
              </a:extLst>
            </p:cNvPr>
            <p:cNvSpPr txBox="1">
              <a:spLocks/>
            </p:cNvSpPr>
            <p:nvPr/>
          </p:nvSpPr>
          <p:spPr>
            <a:xfrm>
              <a:off x="4709287" y="516429"/>
              <a:ext cx="1570601" cy="498598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2400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5" name="Title 3">
              <a:extLst>
                <a:ext uri="{FF2B5EF4-FFF2-40B4-BE49-F238E27FC236}">
                  <a16:creationId xmlns:a16="http://schemas.microsoft.com/office/drawing/2014/main" id="{0CD3071C-EF9A-160C-193E-CD22B9307112}"/>
                </a:ext>
              </a:extLst>
            </p:cNvPr>
            <p:cNvSpPr txBox="1">
              <a:spLocks/>
            </p:cNvSpPr>
            <p:nvPr/>
          </p:nvSpPr>
          <p:spPr>
            <a:xfrm>
              <a:off x="4444791" y="1015027"/>
              <a:ext cx="3928392" cy="4985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cap="none" dirty="0">
                  <a:solidFill>
                    <a:srgbClr val="FED112"/>
                  </a:solidFill>
                </a:rPr>
                <a:t>Power BI </a:t>
              </a:r>
              <a:r>
                <a:rPr lang="en-US" sz="2800" cap="none" dirty="0">
                  <a:solidFill>
                    <a:schemeClr val="tx1"/>
                  </a:solidFill>
                </a:rPr>
                <a:t>Training</a:t>
              </a:r>
              <a:endParaRPr lang="en-US" sz="2800" dirty="0">
                <a:solidFill>
                  <a:schemeClr val="tx1"/>
                </a:solidFill>
              </a:endParaRPr>
            </a:p>
          </p:txBody>
        </p:sp>
        <p:pic>
          <p:nvPicPr>
            <p:cNvPr id="6" name="Picture 5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F1C8179E-833E-6A63-9CD8-006084751C6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25115" y="950072"/>
              <a:ext cx="943368" cy="6285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481630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E1E01D56-0CD5-4638-836B-F57EB9AA5312}"/>
              </a:ext>
            </a:extLst>
          </p:cNvPr>
          <p:cNvSpPr txBox="1">
            <a:spLocks/>
          </p:cNvSpPr>
          <p:nvPr/>
        </p:nvSpPr>
        <p:spPr>
          <a:xfrm>
            <a:off x="9677400" y="6637020"/>
            <a:ext cx="2842260" cy="22098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defPPr>
              <a:defRPr lang="en-US"/>
            </a:defPPr>
            <a:lvl1pPr marL="0" algn="ctr" defTabSz="914367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1000" kern="1200" dirty="0" smtClean="0">
                <a:solidFill>
                  <a:srgbClr val="50505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dirty="0"/>
              <a:t>© 2021 Microsoft All rights reserved.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1F9F411-4402-4D1E-8F8B-469987EF8C0C}"/>
              </a:ext>
            </a:extLst>
          </p:cNvPr>
          <p:cNvSpPr txBox="1"/>
          <p:nvPr/>
        </p:nvSpPr>
        <p:spPr>
          <a:xfrm>
            <a:off x="83820" y="6637020"/>
            <a:ext cx="2019300" cy="220980"/>
          </a:xfrm>
          <a:prstGeom prst="rect">
            <a:avLst/>
          </a:prstGeom>
          <a:solidFill>
            <a:schemeClr val="bg1"/>
          </a:solidFill>
        </p:spPr>
        <p:txBody>
          <a:bodyPr wrap="square" lIns="182880" tIns="146304" rIns="182880" bIns="146304" rtlCol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097AE7E-CEB3-47C2-BB0A-F874FA580697}"/>
              </a:ext>
            </a:extLst>
          </p:cNvPr>
          <p:cNvSpPr txBox="1"/>
          <p:nvPr/>
        </p:nvSpPr>
        <p:spPr>
          <a:xfrm>
            <a:off x="279812" y="413503"/>
            <a:ext cx="968121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urse Agenda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CBEA019-CBEF-484D-8732-3B63559127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773573"/>
              </p:ext>
            </p:extLst>
          </p:nvPr>
        </p:nvGraphicFramePr>
        <p:xfrm>
          <a:off x="916756" y="1355643"/>
          <a:ext cx="9576079" cy="4311061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1398940">
                  <a:extLst>
                    <a:ext uri="{9D8B030D-6E8A-4147-A177-3AD203B41FA5}">
                      <a16:colId xmlns:a16="http://schemas.microsoft.com/office/drawing/2014/main" val="3079094763"/>
                    </a:ext>
                  </a:extLst>
                </a:gridCol>
                <a:gridCol w="5576835">
                  <a:extLst>
                    <a:ext uri="{9D8B030D-6E8A-4147-A177-3AD203B41FA5}">
                      <a16:colId xmlns:a16="http://schemas.microsoft.com/office/drawing/2014/main" val="3683571870"/>
                    </a:ext>
                  </a:extLst>
                </a:gridCol>
                <a:gridCol w="2600304">
                  <a:extLst>
                    <a:ext uri="{9D8B030D-6E8A-4147-A177-3AD203B41FA5}">
                      <a16:colId xmlns:a16="http://schemas.microsoft.com/office/drawing/2014/main" val="556327279"/>
                    </a:ext>
                  </a:extLst>
                </a:gridCol>
              </a:tblGrid>
              <a:tr h="314149">
                <a:tc>
                  <a:txBody>
                    <a:bodyPr/>
                    <a:lstStyle/>
                    <a:p>
                      <a:pPr algn="l"/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Subjec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Suggested tim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15852650"/>
                  </a:ext>
                </a:extLst>
              </a:tr>
              <a:tr h="235613">
                <a:tc>
                  <a:txBody>
                    <a:bodyPr/>
                    <a:lstStyle/>
                    <a:p>
                      <a:pPr algn="l"/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</a:rPr>
                        <a:t>Introductions and Overview 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15 m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54015326"/>
                  </a:ext>
                </a:extLst>
              </a:tr>
              <a:tr h="268243"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Module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</a:rPr>
                        <a:t>Getting and shaping the Data 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30 m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60007192"/>
                  </a:ext>
                </a:extLst>
              </a:tr>
              <a:tr h="263661"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Lab 01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Getting the data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15 m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34663635"/>
                  </a:ext>
                </a:extLst>
              </a:tr>
              <a:tr h="291448"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Module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Basic Data Model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30 m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43705738"/>
                  </a:ext>
                </a:extLst>
              </a:tr>
              <a:tr h="291448"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Lab 0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Creating Dimensions, Fact and Shaping the 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30 m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9524687"/>
                  </a:ext>
                </a:extLst>
              </a:tr>
              <a:tr h="291448"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Module 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Getting started with M </a:t>
                      </a: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(Power Query Language) 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30 m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2409654"/>
                  </a:ext>
                </a:extLst>
              </a:tr>
              <a:tr h="291448"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Lab 0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Creating Relationship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30 m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38237995"/>
                  </a:ext>
                </a:extLst>
              </a:tr>
              <a:tr h="291448"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Module 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Understanding Logic Operator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30 min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154873"/>
                  </a:ext>
                </a:extLst>
              </a:tr>
              <a:tr h="291448">
                <a:tc>
                  <a:txBody>
                    <a:bodyPr/>
                    <a:lstStyle/>
                    <a:p>
                      <a:pPr algn="l"/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Break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30 m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43798209"/>
                  </a:ext>
                </a:extLst>
              </a:tr>
              <a:tr h="291448"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Module 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kern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alculated Columns vs Calculated Measur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kern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15 m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36939563"/>
                  </a:ext>
                </a:extLst>
              </a:tr>
              <a:tr h="291448"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Module 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Power BI Performance Facto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45 m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9785019"/>
                  </a:ext>
                </a:extLst>
              </a:tr>
              <a:tr h="291448"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Module 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</a:rPr>
                        <a:t>Power BI Modeling Best Practic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30 m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50154070"/>
                  </a:ext>
                </a:extLst>
              </a:tr>
              <a:tr h="291448"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Lab 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Performance Analyz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15 m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02360502"/>
                  </a:ext>
                </a:extLst>
              </a:tr>
              <a:tr h="291448"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Module 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Development Tool:  Tabular Editor</a:t>
                      </a:r>
                      <a:endParaRPr kumimoji="0" lang="en-US" sz="11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uLnTx/>
                        <a:uFillTx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20 m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78547890"/>
                  </a:ext>
                </a:extLst>
              </a:tr>
            </a:tbl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E1BA7838-1784-49BE-58B9-4F5741869A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urse Agenda</a:t>
            </a:r>
            <a:br>
              <a:rPr lang="en-US" sz="36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3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2241336"/>
      </p:ext>
    </p:extLst>
  </p:cSld>
  <p:clrMapOvr>
    <a:masterClrMapping/>
  </p:clrMapOvr>
  <p:transition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84B9BB-19A0-BE5C-F1E3-A311076B7E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2201" y="1118475"/>
            <a:ext cx="5112940" cy="412454"/>
          </a:xfrm>
        </p:spPr>
        <p:txBody>
          <a:bodyPr/>
          <a:lstStyle/>
          <a:p>
            <a:r>
              <a:rPr lang="en-US" sz="4000" cap="none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Module 2 Labs</a:t>
            </a:r>
            <a:endParaRPr lang="en-US" sz="36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9993C53-22D6-F442-B069-E417B6BA826F}"/>
              </a:ext>
            </a:extLst>
          </p:cNvPr>
          <p:cNvSpPr/>
          <p:nvPr/>
        </p:nvSpPr>
        <p:spPr>
          <a:xfrm>
            <a:off x="3937210" y="1944619"/>
            <a:ext cx="6922235" cy="425636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latin typeface="Segoe UI Semilight" panose="020B0402040204020203" pitchFamily="34" charset="0"/>
                <a:ea typeface="ＭＳ Ｐゴシック"/>
                <a:cs typeface="Segoe UI Semilight" panose="020B0402040204020203" pitchFamily="34" charset="0"/>
              </a:rPr>
              <a:t>Lab 2a – Create </a:t>
            </a:r>
            <a:r>
              <a:rPr lang="en-US" sz="2400" dirty="0" err="1">
                <a:latin typeface="Segoe UI Semilight" panose="020B0402040204020203" pitchFamily="34" charset="0"/>
                <a:ea typeface="ＭＳ Ｐゴシック"/>
                <a:cs typeface="Segoe UI Semilight" panose="020B0402040204020203" pitchFamily="34" charset="0"/>
              </a:rPr>
              <a:t>CatSegDim</a:t>
            </a:r>
            <a:r>
              <a:rPr lang="en-US" sz="2400" dirty="0">
                <a:latin typeface="Segoe UI Semilight" panose="020B0402040204020203" pitchFamily="34" charset="0"/>
                <a:ea typeface="ＭＳ Ｐゴシック"/>
                <a:cs typeface="Segoe UI Semilight" panose="020B0402040204020203" pitchFamily="34" charset="0"/>
              </a:rPr>
              <a:t> Dimension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latin typeface="Segoe UI Semilight" panose="020B0402040204020203" pitchFamily="34" charset="0"/>
                <a:ea typeface="ＭＳ Ｐゴシック"/>
                <a:cs typeface="Segoe UI Semilight" panose="020B0402040204020203" pitchFamily="34" charset="0"/>
              </a:rPr>
              <a:t>Lab 2b – Update Dimension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latin typeface="Segoe UI Semilight" panose="020B0402040204020203" pitchFamily="34" charset="0"/>
                <a:ea typeface="ＭＳ Ｐゴシック"/>
                <a:cs typeface="Segoe UI Semilight" panose="020B0402040204020203" pitchFamily="34" charset="0"/>
              </a:rPr>
              <a:t>Lab 2c – Create Customer Dimension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latin typeface="Segoe UI Semilight" panose="020B0402040204020203" pitchFamily="34" charset="0"/>
                <a:ea typeface="ＭＳ Ｐゴシック"/>
                <a:cs typeface="Segoe UI Semilight" panose="020B0402040204020203" pitchFamily="34" charset="0"/>
              </a:rPr>
              <a:t>Lab 2d – Create Budget Fact Table</a:t>
            </a:r>
            <a:endParaRPr lang="en-US" sz="2400" dirty="0">
              <a:solidFill>
                <a:schemeClr val="tx1">
                  <a:lumMod val="50000"/>
                </a:scheme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28E01DB-A835-CC34-5A9B-114EF904B7E0}"/>
              </a:ext>
            </a:extLst>
          </p:cNvPr>
          <p:cNvSpPr txBox="1"/>
          <p:nvPr/>
        </p:nvSpPr>
        <p:spPr>
          <a:xfrm>
            <a:off x="68511" y="249412"/>
            <a:ext cx="320417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600" cap="none" dirty="0">
                <a:solidFill>
                  <a:schemeClr val="bg1"/>
                </a:solidFill>
                <a:ea typeface="Segoe UI Black" panose="020B0A02040204020203" pitchFamily="34" charset="0"/>
                <a:cs typeface="Segoe UI Light" panose="020B0502040204020203" pitchFamily="34" charset="0"/>
              </a:rPr>
              <a:t>Data Modeling</a:t>
            </a:r>
            <a:endParaRPr lang="en-US" sz="3600" dirty="0">
              <a:solidFill>
                <a:schemeClr val="bg1"/>
              </a:solidFill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B2BF0C8-4CF7-E2BC-6FC7-47DADCA6A0E0}"/>
              </a:ext>
            </a:extLst>
          </p:cNvPr>
          <p:cNvGrpSpPr/>
          <p:nvPr/>
        </p:nvGrpSpPr>
        <p:grpSpPr>
          <a:xfrm>
            <a:off x="10345734" y="128968"/>
            <a:ext cx="1777755" cy="873715"/>
            <a:chOff x="167515" y="1"/>
            <a:chExt cx="1777755" cy="873715"/>
          </a:xfrm>
        </p:grpSpPr>
        <p:sp>
          <p:nvSpPr>
            <p:cNvPr id="14" name="Text Placeholder 1">
              <a:extLst>
                <a:ext uri="{FF2B5EF4-FFF2-40B4-BE49-F238E27FC236}">
                  <a16:creationId xmlns:a16="http://schemas.microsoft.com/office/drawing/2014/main" id="{2B72BDF7-0754-1DD5-D1E2-F947303BD4EC}"/>
                </a:ext>
              </a:extLst>
            </p:cNvPr>
            <p:cNvSpPr txBox="1">
              <a:spLocks/>
            </p:cNvSpPr>
            <p:nvPr/>
          </p:nvSpPr>
          <p:spPr>
            <a:xfrm>
              <a:off x="167515" y="1"/>
              <a:ext cx="1071837" cy="318962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15" name="Title 3">
              <a:extLst>
                <a:ext uri="{FF2B5EF4-FFF2-40B4-BE49-F238E27FC236}">
                  <a16:creationId xmlns:a16="http://schemas.microsoft.com/office/drawing/2014/main" id="{BDF407BC-2A45-AD86-A244-3912BDEAFA0D}"/>
                </a:ext>
              </a:extLst>
            </p:cNvPr>
            <p:cNvSpPr txBox="1">
              <a:spLocks/>
            </p:cNvSpPr>
            <p:nvPr/>
          </p:nvSpPr>
          <p:spPr>
            <a:xfrm>
              <a:off x="569537" y="318962"/>
              <a:ext cx="1375733" cy="24929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sz="1800" cap="none" dirty="0">
                  <a:solidFill>
                    <a:srgbClr val="FED112"/>
                  </a:solidFill>
                </a:rPr>
                <a:t>Power BI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16" name="Picture 15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B23D77F0-B3F9-F586-8106-36CFE2ECE86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368" y="323903"/>
              <a:ext cx="412338" cy="274716"/>
            </a:xfrm>
            <a:prstGeom prst="rect">
              <a:avLst/>
            </a:prstGeom>
          </p:spPr>
        </p:pic>
        <p:sp>
          <p:nvSpPr>
            <p:cNvPr id="17" name="Text Placeholder 1">
              <a:extLst>
                <a:ext uri="{FF2B5EF4-FFF2-40B4-BE49-F238E27FC236}">
                  <a16:creationId xmlns:a16="http://schemas.microsoft.com/office/drawing/2014/main" id="{37F06975-C7F6-669F-F926-67336F89042C}"/>
                </a:ext>
              </a:extLst>
            </p:cNvPr>
            <p:cNvSpPr txBox="1">
              <a:spLocks/>
            </p:cNvSpPr>
            <p:nvPr/>
          </p:nvSpPr>
          <p:spPr>
            <a:xfrm>
              <a:off x="793705" y="461261"/>
              <a:ext cx="1151565" cy="412455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8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Segoe UI Semibold" panose="020B0702040204020203" pitchFamily="34" charset="0"/>
                </a:rPr>
                <a:t>Train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42991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6566A0-9C80-E89C-14C8-4C39C185E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1966" y="2233641"/>
            <a:ext cx="4548068" cy="609398"/>
          </a:xfrm>
        </p:spPr>
        <p:txBody>
          <a:bodyPr/>
          <a:lstStyle/>
          <a:p>
            <a:r>
              <a:rPr lang="en-US" sz="4400" cap="none" dirty="0">
                <a:latin typeface="Segoe UI Semibold" panose="020B0702040204020203" pitchFamily="34" charset="0"/>
              </a:rPr>
              <a:t>Data Modeling</a:t>
            </a:r>
            <a:endParaRPr lang="en-US" sz="4400" cap="non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47C03D-4EE7-5C3E-845B-DBDED40F8D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25115" y="3341637"/>
            <a:ext cx="4548068" cy="677108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4400" dirty="0"/>
              <a:t>Knowledge Check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32B3B18-CA76-BE76-AFCE-465201C6BCE8}"/>
              </a:ext>
            </a:extLst>
          </p:cNvPr>
          <p:cNvGrpSpPr/>
          <p:nvPr/>
        </p:nvGrpSpPr>
        <p:grpSpPr>
          <a:xfrm>
            <a:off x="3825115" y="516429"/>
            <a:ext cx="4548068" cy="1062152"/>
            <a:chOff x="3825115" y="516429"/>
            <a:chExt cx="4548068" cy="1062152"/>
          </a:xfrm>
        </p:grpSpPr>
        <p:sp>
          <p:nvSpPr>
            <p:cNvPr id="4" name="Text Placeholder 1">
              <a:extLst>
                <a:ext uri="{FF2B5EF4-FFF2-40B4-BE49-F238E27FC236}">
                  <a16:creationId xmlns:a16="http://schemas.microsoft.com/office/drawing/2014/main" id="{F4539750-96A4-88EE-715A-7B20B75D2B4D}"/>
                </a:ext>
              </a:extLst>
            </p:cNvPr>
            <p:cNvSpPr txBox="1">
              <a:spLocks/>
            </p:cNvSpPr>
            <p:nvPr/>
          </p:nvSpPr>
          <p:spPr>
            <a:xfrm>
              <a:off x="4709287" y="516429"/>
              <a:ext cx="1570601" cy="498598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2400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5" name="Title 3">
              <a:extLst>
                <a:ext uri="{FF2B5EF4-FFF2-40B4-BE49-F238E27FC236}">
                  <a16:creationId xmlns:a16="http://schemas.microsoft.com/office/drawing/2014/main" id="{0CD3071C-EF9A-160C-193E-CD22B9307112}"/>
                </a:ext>
              </a:extLst>
            </p:cNvPr>
            <p:cNvSpPr txBox="1">
              <a:spLocks/>
            </p:cNvSpPr>
            <p:nvPr/>
          </p:nvSpPr>
          <p:spPr>
            <a:xfrm>
              <a:off x="4444791" y="1015027"/>
              <a:ext cx="3928392" cy="4985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cap="none" dirty="0">
                  <a:solidFill>
                    <a:srgbClr val="FED112"/>
                  </a:solidFill>
                </a:rPr>
                <a:t>Power BI </a:t>
              </a:r>
              <a:r>
                <a:rPr lang="en-US" sz="2800" cap="none" dirty="0">
                  <a:solidFill>
                    <a:schemeClr val="tx1"/>
                  </a:solidFill>
                </a:rPr>
                <a:t>Training</a:t>
              </a:r>
              <a:endParaRPr lang="en-US" sz="2800" dirty="0">
                <a:solidFill>
                  <a:schemeClr val="tx1"/>
                </a:solidFill>
              </a:endParaRPr>
            </a:p>
          </p:txBody>
        </p:sp>
        <p:pic>
          <p:nvPicPr>
            <p:cNvPr id="6" name="Picture 5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F1C8179E-833E-6A63-9CD8-006084751C6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25115" y="950072"/>
              <a:ext cx="943368" cy="6285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7533798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3351E94-1FD5-4EB2-B357-4F46A556E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dule 2 Knowledge Check Question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401DFB4-7272-46C2-B573-94625E879FE5}"/>
              </a:ext>
            </a:extLst>
          </p:cNvPr>
          <p:cNvSpPr/>
          <p:nvPr/>
        </p:nvSpPr>
        <p:spPr>
          <a:xfrm>
            <a:off x="916754" y="1276551"/>
            <a:ext cx="9510606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000" b="1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hat is a data model in the context of Power BI?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Cube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tar Schema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llection of Tables and Relationships</a:t>
            </a:r>
          </a:p>
          <a:p>
            <a:pPr marL="800100" lvl="1" indent="-342900">
              <a:buFont typeface="+mj-lt"/>
              <a:buAutoNum type="alphaLcPeriod"/>
              <a:defRPr/>
            </a:pPr>
            <a:endParaRPr lang="en-US" dirty="0">
              <a:solidFill>
                <a:prstClr val="black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457200" indent="-457200">
              <a:lnSpc>
                <a:spcPct val="120000"/>
              </a:lnSpc>
              <a:spcAft>
                <a:spcPts val="800"/>
              </a:spcAft>
              <a:buFont typeface="+mj-lt"/>
              <a:buAutoNum type="arabicPeriod"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rPr>
              <a:t>What is the core of the dimensional model?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rPr>
              <a:t>Star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rPr>
              <a:t>Fact Table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rPr>
              <a:t>Dimension Tabl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rPr>
              <a:t>Why is it important to have a good data model?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rPr>
              <a:t>Improves understandability of the data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rPr>
              <a:t>Decreases resilience to change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rPr>
              <a:t>Processes may take longer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6244000"/>
      </p:ext>
    </p:extLst>
  </p:cSld>
  <p:clrMapOvr>
    <a:masterClrMapping/>
  </p:clrMapOvr>
  <p:transition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3351E94-1FD5-4EB2-B357-4F46A556E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dule 2 Knowledge Check Question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401DFB4-7272-46C2-B573-94625E879FE5}"/>
              </a:ext>
            </a:extLst>
          </p:cNvPr>
          <p:cNvSpPr/>
          <p:nvPr/>
        </p:nvSpPr>
        <p:spPr>
          <a:xfrm>
            <a:off x="916754" y="1276551"/>
            <a:ext cx="9510606" cy="61760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+mj-lt"/>
              <a:buAutoNum type="arabicPeriod" startAt="4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rPr>
              <a:t>What table should measures exist in?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rPr>
              <a:t>Dimension table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rPr>
              <a:t>Fact table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rPr>
              <a:t>Date table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+mj-lt"/>
              <a:buAutoNum type="arabicPeriod" startAt="4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rPr>
              <a:t>What are some advantages of a star schema over a flat or denormalized model?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rPr>
              <a:t>Dimension tables save space by reducing the amount of data that needs to be repeated over and over in every row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rPr>
              <a:t>Relationships between tables can be leveraged for more complex measures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rPr>
              <a:t>it is less complex to understand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rPr>
              <a:t>There is only one table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342900" indent="-342900">
              <a:buFont typeface="+mj-lt"/>
              <a:buAutoNum type="arabicPeriod" startAt="4"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rPr>
              <a:t>How might you improve the performance of a Power BI model?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star schema instead of a flat or denormalized model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t appropriate data types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move unnecessary columns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e data aggregations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ll of the above</a:t>
            </a:r>
          </a:p>
          <a:p>
            <a:pPr marL="0" lvl="0" indent="0">
              <a:lnSpc>
                <a:spcPct val="100000"/>
              </a:lnSpc>
              <a:spcAft>
                <a:spcPct val="0"/>
              </a:spcAft>
              <a:buFontTx/>
              <a:buNone/>
              <a:defRPr/>
            </a:pPr>
            <a:br>
              <a:rPr lang="en-US" altLang="en-US" sz="2000" dirty="0">
                <a:solidFill>
                  <a:srgbClr val="000000"/>
                </a:solidFill>
                <a:latin typeface="Segoe UI"/>
              </a:rPr>
            </a:b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2833460"/>
      </p:ext>
    </p:extLst>
  </p:cSld>
  <p:clrMapOvr>
    <a:masterClrMapping/>
  </p:clrMapOvr>
  <p:transition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6566A0-9C80-E89C-14C8-4C39C185E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3356" y="2360165"/>
            <a:ext cx="2590799" cy="498598"/>
          </a:xfrm>
        </p:spPr>
        <p:txBody>
          <a:bodyPr/>
          <a:lstStyle/>
          <a:p>
            <a:r>
              <a:rPr lang="en-US" cap="none" dirty="0">
                <a:latin typeface="Segoe UI Semibold" panose="020B0702040204020203" pitchFamily="34" charset="0"/>
              </a:rPr>
              <a:t>Module 3</a:t>
            </a:r>
            <a:endParaRPr lang="en-US" cap="non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47C03D-4EE7-5C3E-845B-DBDED40F8D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25115" y="2858763"/>
            <a:ext cx="4548068" cy="1508105"/>
          </a:xfrm>
        </p:spPr>
        <p:txBody>
          <a:bodyPr/>
          <a:lstStyle/>
          <a:p>
            <a:r>
              <a:rPr lang="en-US" sz="4400" dirty="0"/>
              <a:t>M Language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400" dirty="0"/>
              <a:t>a.k.a.</a:t>
            </a:r>
            <a:r>
              <a:rPr lang="en-US" sz="3200" dirty="0"/>
              <a:t> Power Query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364D75B-1B87-5687-157F-0CA8F48133D7}"/>
              </a:ext>
            </a:extLst>
          </p:cNvPr>
          <p:cNvGrpSpPr/>
          <p:nvPr/>
        </p:nvGrpSpPr>
        <p:grpSpPr>
          <a:xfrm>
            <a:off x="3825115" y="516429"/>
            <a:ext cx="4548068" cy="1062152"/>
            <a:chOff x="3825115" y="516429"/>
            <a:chExt cx="4548068" cy="1062152"/>
          </a:xfrm>
        </p:grpSpPr>
        <p:sp>
          <p:nvSpPr>
            <p:cNvPr id="8" name="Text Placeholder 1">
              <a:extLst>
                <a:ext uri="{FF2B5EF4-FFF2-40B4-BE49-F238E27FC236}">
                  <a16:creationId xmlns:a16="http://schemas.microsoft.com/office/drawing/2014/main" id="{10836EA4-047D-5360-6970-88848D530EB3}"/>
                </a:ext>
              </a:extLst>
            </p:cNvPr>
            <p:cNvSpPr txBox="1">
              <a:spLocks/>
            </p:cNvSpPr>
            <p:nvPr/>
          </p:nvSpPr>
          <p:spPr>
            <a:xfrm>
              <a:off x="4709287" y="516429"/>
              <a:ext cx="1570601" cy="498598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2400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9" name="Title 3">
              <a:extLst>
                <a:ext uri="{FF2B5EF4-FFF2-40B4-BE49-F238E27FC236}">
                  <a16:creationId xmlns:a16="http://schemas.microsoft.com/office/drawing/2014/main" id="{56BFF73F-5A37-4BC8-019F-6A8097A74AAC}"/>
                </a:ext>
              </a:extLst>
            </p:cNvPr>
            <p:cNvSpPr txBox="1">
              <a:spLocks/>
            </p:cNvSpPr>
            <p:nvPr/>
          </p:nvSpPr>
          <p:spPr>
            <a:xfrm>
              <a:off x="4444791" y="1015027"/>
              <a:ext cx="3928392" cy="4985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cap="none" dirty="0">
                  <a:solidFill>
                    <a:srgbClr val="FED112"/>
                  </a:solidFill>
                </a:rPr>
                <a:t>Power BI </a:t>
              </a:r>
              <a:r>
                <a:rPr lang="en-US" sz="2800" cap="none" dirty="0">
                  <a:solidFill>
                    <a:schemeClr val="tx1"/>
                  </a:solidFill>
                </a:rPr>
                <a:t>Training</a:t>
              </a:r>
              <a:endParaRPr lang="en-US" sz="2800" dirty="0">
                <a:solidFill>
                  <a:schemeClr val="tx1"/>
                </a:solidFill>
              </a:endParaRPr>
            </a:p>
          </p:txBody>
        </p:sp>
        <p:pic>
          <p:nvPicPr>
            <p:cNvPr id="10" name="Picture 9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549E3E53-7AF6-0DBC-4FD2-D632774E34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25115" y="950072"/>
              <a:ext cx="943368" cy="6285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224611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84B9BB-19A0-BE5C-F1E3-A311076B7E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210" y="1738392"/>
            <a:ext cx="5112940" cy="412454"/>
          </a:xfrm>
        </p:spPr>
        <p:txBody>
          <a:bodyPr/>
          <a:lstStyle/>
          <a:p>
            <a:r>
              <a:rPr lang="en-US" sz="4000" cap="none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Module 3 Objectives</a:t>
            </a:r>
            <a:endParaRPr lang="en-US" sz="3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9993C53-22D6-F442-B069-E417B6BA826F}"/>
              </a:ext>
            </a:extLst>
          </p:cNvPr>
          <p:cNvSpPr/>
          <p:nvPr/>
        </p:nvSpPr>
        <p:spPr>
          <a:xfrm>
            <a:off x="3813630" y="2516489"/>
            <a:ext cx="6922235" cy="359381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Get introduced to M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rstand key components and syntax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28E01DB-A835-CC34-5A9B-114EF904B7E0}"/>
              </a:ext>
            </a:extLst>
          </p:cNvPr>
          <p:cNvSpPr txBox="1"/>
          <p:nvPr/>
        </p:nvSpPr>
        <p:spPr>
          <a:xfrm>
            <a:off x="158698" y="274619"/>
            <a:ext cx="318150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cap="none" dirty="0">
                <a:solidFill>
                  <a:schemeClr val="bg1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M Language</a:t>
            </a:r>
            <a:endParaRPr lang="en-US" sz="3600" dirty="0">
              <a:solidFill>
                <a:schemeClr val="bg1"/>
              </a:solidFill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B2BF0C8-4CF7-E2BC-6FC7-47DADCA6A0E0}"/>
              </a:ext>
            </a:extLst>
          </p:cNvPr>
          <p:cNvGrpSpPr/>
          <p:nvPr/>
        </p:nvGrpSpPr>
        <p:grpSpPr>
          <a:xfrm>
            <a:off x="10575427" y="130569"/>
            <a:ext cx="1581902" cy="904072"/>
            <a:chOff x="363368" y="-30356"/>
            <a:chExt cx="1581902" cy="904072"/>
          </a:xfrm>
        </p:grpSpPr>
        <p:sp>
          <p:nvSpPr>
            <p:cNvPr id="14" name="Text Placeholder 1">
              <a:extLst>
                <a:ext uri="{FF2B5EF4-FFF2-40B4-BE49-F238E27FC236}">
                  <a16:creationId xmlns:a16="http://schemas.microsoft.com/office/drawing/2014/main" id="{2B72BDF7-0754-1DD5-D1E2-F947303BD4EC}"/>
                </a:ext>
              </a:extLst>
            </p:cNvPr>
            <p:cNvSpPr txBox="1">
              <a:spLocks/>
            </p:cNvSpPr>
            <p:nvPr/>
          </p:nvSpPr>
          <p:spPr>
            <a:xfrm>
              <a:off x="439156" y="-30356"/>
              <a:ext cx="1071837" cy="318962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15" name="Title 3">
              <a:extLst>
                <a:ext uri="{FF2B5EF4-FFF2-40B4-BE49-F238E27FC236}">
                  <a16:creationId xmlns:a16="http://schemas.microsoft.com/office/drawing/2014/main" id="{BDF407BC-2A45-AD86-A244-3912BDEAFA0D}"/>
                </a:ext>
              </a:extLst>
            </p:cNvPr>
            <p:cNvSpPr txBox="1">
              <a:spLocks/>
            </p:cNvSpPr>
            <p:nvPr/>
          </p:nvSpPr>
          <p:spPr>
            <a:xfrm>
              <a:off x="569537" y="318963"/>
              <a:ext cx="1375733" cy="24929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sz="1800" cap="none" dirty="0">
                  <a:solidFill>
                    <a:srgbClr val="FED112"/>
                  </a:solidFill>
                </a:rPr>
                <a:t>Power BI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16" name="Picture 15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B23D77F0-B3F9-F586-8106-36CFE2ECE86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368" y="323903"/>
              <a:ext cx="412338" cy="274716"/>
            </a:xfrm>
            <a:prstGeom prst="rect">
              <a:avLst/>
            </a:prstGeom>
          </p:spPr>
        </p:pic>
        <p:sp>
          <p:nvSpPr>
            <p:cNvPr id="17" name="Text Placeholder 1">
              <a:extLst>
                <a:ext uri="{FF2B5EF4-FFF2-40B4-BE49-F238E27FC236}">
                  <a16:creationId xmlns:a16="http://schemas.microsoft.com/office/drawing/2014/main" id="{37F06975-C7F6-669F-F926-67336F89042C}"/>
                </a:ext>
              </a:extLst>
            </p:cNvPr>
            <p:cNvSpPr txBox="1">
              <a:spLocks/>
            </p:cNvSpPr>
            <p:nvPr/>
          </p:nvSpPr>
          <p:spPr>
            <a:xfrm>
              <a:off x="793705" y="461261"/>
              <a:ext cx="1151565" cy="412455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8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Segoe UI Semibold" panose="020B0702040204020203" pitchFamily="34" charset="0"/>
                </a:rPr>
                <a:t>Train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890295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467DEC0-8D4E-4077-ABB2-FB2E65EB1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761" y="828413"/>
            <a:ext cx="7763317" cy="545539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800" cap="none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What is M?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777CDF1-297B-4E46-8034-EDC0F2C83C74}"/>
              </a:ext>
            </a:extLst>
          </p:cNvPr>
          <p:cNvSpPr txBox="1">
            <a:spLocks/>
          </p:cNvSpPr>
          <p:nvPr/>
        </p:nvSpPr>
        <p:spPr>
          <a:xfrm>
            <a:off x="714761" y="1188818"/>
            <a:ext cx="3834568" cy="4536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 b="0" i="0"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r>
              <a:rPr lang="en-US" sz="1600" kern="0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ormerly known as Power Query</a:t>
            </a:r>
            <a:endParaRPr lang="en-US" sz="2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F8A5725-BF5A-4894-ABD3-BE915306765F}"/>
              </a:ext>
            </a:extLst>
          </p:cNvPr>
          <p:cNvSpPr/>
          <p:nvPr/>
        </p:nvSpPr>
        <p:spPr>
          <a:xfrm>
            <a:off x="714761" y="1796654"/>
            <a:ext cx="10707532" cy="60162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M has amazing capabilities to transform data to optimize it for the data model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2B51179-EFA5-DEEC-9619-F2B6B7231A3A}"/>
              </a:ext>
            </a:extLst>
          </p:cNvPr>
          <p:cNvGrpSpPr/>
          <p:nvPr/>
        </p:nvGrpSpPr>
        <p:grpSpPr>
          <a:xfrm>
            <a:off x="10575427" y="130569"/>
            <a:ext cx="1581902" cy="904072"/>
            <a:chOff x="363368" y="-30356"/>
            <a:chExt cx="1581902" cy="904072"/>
          </a:xfrm>
        </p:grpSpPr>
        <p:sp>
          <p:nvSpPr>
            <p:cNvPr id="13" name="Text Placeholder 1">
              <a:extLst>
                <a:ext uri="{FF2B5EF4-FFF2-40B4-BE49-F238E27FC236}">
                  <a16:creationId xmlns:a16="http://schemas.microsoft.com/office/drawing/2014/main" id="{194B9C28-B418-01F2-4974-18ED2CE9E2D8}"/>
                </a:ext>
              </a:extLst>
            </p:cNvPr>
            <p:cNvSpPr txBox="1">
              <a:spLocks/>
            </p:cNvSpPr>
            <p:nvPr/>
          </p:nvSpPr>
          <p:spPr>
            <a:xfrm>
              <a:off x="439156" y="-30356"/>
              <a:ext cx="1071837" cy="318962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14" name="Title 3">
              <a:extLst>
                <a:ext uri="{FF2B5EF4-FFF2-40B4-BE49-F238E27FC236}">
                  <a16:creationId xmlns:a16="http://schemas.microsoft.com/office/drawing/2014/main" id="{72E43727-7958-DAE5-AC66-5B797EAC2006}"/>
                </a:ext>
              </a:extLst>
            </p:cNvPr>
            <p:cNvSpPr txBox="1">
              <a:spLocks/>
            </p:cNvSpPr>
            <p:nvPr/>
          </p:nvSpPr>
          <p:spPr>
            <a:xfrm>
              <a:off x="569537" y="318963"/>
              <a:ext cx="1375733" cy="24929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sz="1800" cap="none" dirty="0">
                  <a:solidFill>
                    <a:srgbClr val="FED112"/>
                  </a:solidFill>
                </a:rPr>
                <a:t>Power BI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15" name="Picture 14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AFBC5AB2-B6C8-7698-8661-54693BC9622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368" y="323903"/>
              <a:ext cx="412338" cy="274716"/>
            </a:xfrm>
            <a:prstGeom prst="rect">
              <a:avLst/>
            </a:prstGeom>
          </p:spPr>
        </p:pic>
        <p:sp>
          <p:nvSpPr>
            <p:cNvPr id="16" name="Text Placeholder 1">
              <a:extLst>
                <a:ext uri="{FF2B5EF4-FFF2-40B4-BE49-F238E27FC236}">
                  <a16:creationId xmlns:a16="http://schemas.microsoft.com/office/drawing/2014/main" id="{5CB7B6A1-FE35-81F0-F548-62091DFE2CAD}"/>
                </a:ext>
              </a:extLst>
            </p:cNvPr>
            <p:cNvSpPr txBox="1">
              <a:spLocks/>
            </p:cNvSpPr>
            <p:nvPr/>
          </p:nvSpPr>
          <p:spPr>
            <a:xfrm>
              <a:off x="793705" y="461261"/>
              <a:ext cx="1151565" cy="412455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8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Segoe UI Semibold" panose="020B0702040204020203" pitchFamily="34" charset="0"/>
                </a:rPr>
                <a:t>Training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5AC393F-B11F-96C4-FC07-47525F5100F3}"/>
              </a:ext>
            </a:extLst>
          </p:cNvPr>
          <p:cNvSpPr txBox="1">
            <a:spLocks/>
          </p:cNvSpPr>
          <p:nvPr/>
        </p:nvSpPr>
        <p:spPr>
          <a:xfrm>
            <a:off x="676072" y="2476472"/>
            <a:ext cx="10707532" cy="3553115"/>
          </a:xfrm>
          <a:prstGeom prst="rect">
            <a:avLst/>
          </a:prstGeom>
        </p:spPr>
        <p:txBody>
          <a:bodyPr vert="horz" wrap="square" lIns="146304" tIns="91440" rIns="146304" bIns="91440" rtlCol="0" anchor="t" anchorCtr="0">
            <a:noAutofit/>
          </a:bodyPr>
          <a:lstStyle>
            <a:lvl1pPr algn="l" defTabSz="9135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5294" kern="1200" spc="-100">
                <a:ln w="3175">
                  <a:noFill/>
                </a:ln>
                <a:solidFill>
                  <a:schemeClr val="bg1"/>
                </a:solidFill>
                <a:latin typeface="+mj-lt"/>
                <a:ea typeface="ＭＳ Ｐゴシック" charset="0"/>
                <a:cs typeface="Segoe UI" pitchFamily="34" charset="0"/>
              </a:defRPr>
            </a:lvl1pPr>
            <a:lvl2pPr algn="l" defTabSz="9135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294">
                <a:solidFill>
                  <a:schemeClr val="tx2"/>
                </a:solidFill>
                <a:latin typeface="Segoe UI Light" charset="0"/>
                <a:ea typeface="ＭＳ Ｐゴシック" charset="0"/>
                <a:cs typeface="Segoe UI" charset="0"/>
              </a:defRPr>
            </a:lvl2pPr>
            <a:lvl3pPr algn="l" defTabSz="9135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294">
                <a:solidFill>
                  <a:schemeClr val="tx2"/>
                </a:solidFill>
                <a:latin typeface="Segoe UI Light" charset="0"/>
                <a:ea typeface="ＭＳ Ｐゴシック" charset="0"/>
                <a:cs typeface="Segoe UI" charset="0"/>
              </a:defRPr>
            </a:lvl3pPr>
            <a:lvl4pPr algn="l" defTabSz="9135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294">
                <a:solidFill>
                  <a:schemeClr val="tx2"/>
                </a:solidFill>
                <a:latin typeface="Segoe UI Light" charset="0"/>
                <a:ea typeface="ＭＳ Ｐゴシック" charset="0"/>
                <a:cs typeface="Segoe UI" charset="0"/>
              </a:defRPr>
            </a:lvl4pPr>
            <a:lvl5pPr algn="l" defTabSz="9135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294">
                <a:solidFill>
                  <a:schemeClr val="tx2"/>
                </a:solidFill>
                <a:latin typeface="Segoe UI Light" charset="0"/>
                <a:ea typeface="ＭＳ Ｐゴシック" charset="0"/>
                <a:cs typeface="Segoe UI" charset="0"/>
              </a:defRPr>
            </a:lvl5pPr>
            <a:lvl6pPr marL="448193" algn="l" defTabSz="9135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294">
                <a:solidFill>
                  <a:schemeClr val="tx2"/>
                </a:solidFill>
                <a:latin typeface="Segoe UI Light" charset="0"/>
                <a:ea typeface="ＭＳ Ｐゴシック" charset="0"/>
                <a:cs typeface="Segoe UI" charset="0"/>
              </a:defRPr>
            </a:lvl6pPr>
            <a:lvl7pPr marL="896386" algn="l" defTabSz="9135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294">
                <a:solidFill>
                  <a:schemeClr val="tx2"/>
                </a:solidFill>
                <a:latin typeface="Segoe UI Light" charset="0"/>
                <a:ea typeface="ＭＳ Ｐゴシック" charset="0"/>
                <a:cs typeface="Segoe UI" charset="0"/>
              </a:defRPr>
            </a:lvl7pPr>
            <a:lvl8pPr marL="1344579" algn="l" defTabSz="9135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294">
                <a:solidFill>
                  <a:schemeClr val="tx2"/>
                </a:solidFill>
                <a:latin typeface="Segoe UI Light" charset="0"/>
                <a:ea typeface="ＭＳ Ｐゴシック" charset="0"/>
                <a:cs typeface="Segoe UI" charset="0"/>
              </a:defRPr>
            </a:lvl8pPr>
            <a:lvl9pPr marL="1792773" algn="l" defTabSz="9135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294">
                <a:solidFill>
                  <a:schemeClr val="tx2"/>
                </a:solidFill>
                <a:latin typeface="Segoe UI Light" charset="0"/>
                <a:ea typeface="ＭＳ Ｐゴシック" charset="0"/>
                <a:cs typeface="Segoe UI" charset="0"/>
              </a:defRPr>
            </a:lvl9pPr>
          </a:lstStyle>
          <a:p>
            <a:pPr marL="0" indent="0">
              <a:buNone/>
            </a:pPr>
            <a:r>
              <a:rPr lang="en-US" sz="1800" spc="0" dirty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he Power Query Formula Language is a powerful </a:t>
            </a:r>
            <a:r>
              <a:rPr lang="en-US" sz="1800" b="1" spc="0" dirty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query language </a:t>
            </a:r>
            <a:r>
              <a:rPr lang="en-US" sz="1800" spc="0" dirty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ptimized for building queries that mashup data. It's a functional, case sensitive language.</a:t>
            </a:r>
          </a:p>
          <a:p>
            <a:pPr marL="0" indent="0">
              <a:buNone/>
            </a:pPr>
            <a:endParaRPr lang="en-US" sz="1800" spc="0" dirty="0">
              <a:solidFill>
                <a:schemeClr val="tx1"/>
              </a:solidFill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  <a:p>
            <a:pPr marL="0" indent="0">
              <a:buNone/>
            </a:pPr>
            <a:endParaRPr lang="en-US" sz="1800" spc="0" dirty="0">
              <a:solidFill>
                <a:schemeClr val="tx1"/>
              </a:solidFill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  <a:p>
            <a:pPr marL="0" indent="0">
              <a:buNone/>
            </a:pPr>
            <a:r>
              <a:rPr lang="en-US" sz="1800" spc="0" dirty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For computer language theorists: </a:t>
            </a:r>
          </a:p>
          <a:p>
            <a:pPr marL="0" indent="0">
              <a:buNone/>
            </a:pPr>
            <a:r>
              <a:rPr lang="en-US" sz="1800" spc="0" dirty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ower Query is a mostly pure, higher-order, dynamically typed, partially lazy, functional language. You can create a variety of data mashup queries from simple to advanced scenarios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24B32D-0B88-4F53-7DF2-653F44CD2F7D}"/>
              </a:ext>
            </a:extLst>
          </p:cNvPr>
          <p:cNvSpPr txBox="1"/>
          <p:nvPr/>
        </p:nvSpPr>
        <p:spPr>
          <a:xfrm>
            <a:off x="9538212" y="6107782"/>
            <a:ext cx="184539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urce: </a:t>
            </a:r>
            <a:r>
              <a:rPr lang="en-US" sz="1400" dirty="0">
                <a:solidFill>
                  <a:srgbClr val="00B0F0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SDN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562592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  <p:bldP spid="8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467DEC0-8D4E-4077-ABB2-FB2E65EB1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761" y="828413"/>
            <a:ext cx="7763317" cy="545539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800" cap="none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How do I use M?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2B51179-EFA5-DEEC-9619-F2B6B7231A3A}"/>
              </a:ext>
            </a:extLst>
          </p:cNvPr>
          <p:cNvGrpSpPr/>
          <p:nvPr/>
        </p:nvGrpSpPr>
        <p:grpSpPr>
          <a:xfrm>
            <a:off x="10575427" y="130569"/>
            <a:ext cx="1581902" cy="904072"/>
            <a:chOff x="363368" y="-30356"/>
            <a:chExt cx="1581902" cy="904072"/>
          </a:xfrm>
        </p:grpSpPr>
        <p:sp>
          <p:nvSpPr>
            <p:cNvPr id="13" name="Text Placeholder 1">
              <a:extLst>
                <a:ext uri="{FF2B5EF4-FFF2-40B4-BE49-F238E27FC236}">
                  <a16:creationId xmlns:a16="http://schemas.microsoft.com/office/drawing/2014/main" id="{194B9C28-B418-01F2-4974-18ED2CE9E2D8}"/>
                </a:ext>
              </a:extLst>
            </p:cNvPr>
            <p:cNvSpPr txBox="1">
              <a:spLocks/>
            </p:cNvSpPr>
            <p:nvPr/>
          </p:nvSpPr>
          <p:spPr>
            <a:xfrm>
              <a:off x="439156" y="-30356"/>
              <a:ext cx="1071837" cy="318962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14" name="Title 3">
              <a:extLst>
                <a:ext uri="{FF2B5EF4-FFF2-40B4-BE49-F238E27FC236}">
                  <a16:creationId xmlns:a16="http://schemas.microsoft.com/office/drawing/2014/main" id="{72E43727-7958-DAE5-AC66-5B797EAC2006}"/>
                </a:ext>
              </a:extLst>
            </p:cNvPr>
            <p:cNvSpPr txBox="1">
              <a:spLocks/>
            </p:cNvSpPr>
            <p:nvPr/>
          </p:nvSpPr>
          <p:spPr>
            <a:xfrm>
              <a:off x="569537" y="318963"/>
              <a:ext cx="1375733" cy="24929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sz="1800" cap="none" dirty="0">
                  <a:solidFill>
                    <a:srgbClr val="FED112"/>
                  </a:solidFill>
                </a:rPr>
                <a:t>Power BI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15" name="Picture 14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AFBC5AB2-B6C8-7698-8661-54693BC9622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368" y="323903"/>
              <a:ext cx="412338" cy="274716"/>
            </a:xfrm>
            <a:prstGeom prst="rect">
              <a:avLst/>
            </a:prstGeom>
          </p:spPr>
        </p:pic>
        <p:sp>
          <p:nvSpPr>
            <p:cNvPr id="16" name="Text Placeholder 1">
              <a:extLst>
                <a:ext uri="{FF2B5EF4-FFF2-40B4-BE49-F238E27FC236}">
                  <a16:creationId xmlns:a16="http://schemas.microsoft.com/office/drawing/2014/main" id="{5CB7B6A1-FE35-81F0-F548-62091DFE2CAD}"/>
                </a:ext>
              </a:extLst>
            </p:cNvPr>
            <p:cNvSpPr txBox="1">
              <a:spLocks/>
            </p:cNvSpPr>
            <p:nvPr/>
          </p:nvSpPr>
          <p:spPr>
            <a:xfrm>
              <a:off x="793705" y="461261"/>
              <a:ext cx="1151565" cy="412455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8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Segoe UI Semibold" panose="020B0702040204020203" pitchFamily="34" charset="0"/>
                </a:rPr>
                <a:t>Training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CFAA812-F3C8-F29A-EBF7-E20409CB3C62}"/>
              </a:ext>
            </a:extLst>
          </p:cNvPr>
          <p:cNvGrpSpPr/>
          <p:nvPr/>
        </p:nvGrpSpPr>
        <p:grpSpPr>
          <a:xfrm>
            <a:off x="1118440" y="1548170"/>
            <a:ext cx="8819140" cy="4258125"/>
            <a:chOff x="1743887" y="1910907"/>
            <a:chExt cx="7652932" cy="4258125"/>
          </a:xfrm>
        </p:grpSpPr>
        <p:graphicFrame>
          <p:nvGraphicFramePr>
            <p:cNvPr id="6" name="Diagram 5">
              <a:extLst>
                <a:ext uri="{FF2B5EF4-FFF2-40B4-BE49-F238E27FC236}">
                  <a16:creationId xmlns:a16="http://schemas.microsoft.com/office/drawing/2014/main" id="{BAD94B49-E114-F1B0-B6BE-17162B2BAE40}"/>
                </a:ext>
              </a:extLst>
            </p:cNvPr>
            <p:cNvGraphicFramePr/>
            <p:nvPr/>
          </p:nvGraphicFramePr>
          <p:xfrm>
            <a:off x="1743887" y="1910907"/>
            <a:ext cx="7652932" cy="3794761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4" r:lo="rId5" r:qs="rId6" r:cs="rId7"/>
            </a:graphicData>
          </a:graphic>
        </p:graphicFrame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89D7B8B-74F1-CD6E-44F4-5564CA705927}"/>
                </a:ext>
              </a:extLst>
            </p:cNvPr>
            <p:cNvSpPr txBox="1"/>
            <p:nvPr/>
          </p:nvSpPr>
          <p:spPr>
            <a:xfrm>
              <a:off x="1743888" y="5584257"/>
              <a:ext cx="137761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latin typeface="+mj-lt"/>
                </a:rPr>
                <a:t>Simple</a:t>
              </a:r>
              <a:endParaRPr lang="en-US" sz="2800" dirty="0">
                <a:latin typeface="+mj-lt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726BF90-8F88-65A8-F626-48BE5636670B}"/>
                </a:ext>
              </a:extLst>
            </p:cNvPr>
            <p:cNvSpPr txBox="1"/>
            <p:nvPr/>
          </p:nvSpPr>
          <p:spPr>
            <a:xfrm>
              <a:off x="7302938" y="5584257"/>
              <a:ext cx="209388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3200" b="1" dirty="0">
                  <a:solidFill>
                    <a:srgbClr val="505050"/>
                  </a:solidFill>
                </a:rPr>
                <a:t>Advanced</a:t>
              </a:r>
              <a:endParaRPr lang="en-US" sz="2800" b="1" dirty="0">
                <a:solidFill>
                  <a:srgbClr val="505050"/>
                </a:solidFill>
              </a:endParaRPr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EAC76A45-DA73-4B4A-1030-E540F4CA8C7E}"/>
                </a:ext>
              </a:extLst>
            </p:cNvPr>
            <p:cNvSpPr/>
            <p:nvPr/>
          </p:nvSpPr>
          <p:spPr>
            <a:xfrm rot="16200000">
              <a:off x="5159498" y="3797356"/>
              <a:ext cx="320326" cy="4244319"/>
            </a:xfrm>
            <a:prstGeom prst="triangl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</p:grpSp>
    </p:spTree>
    <p:extLst>
      <p:ext uri="{BB962C8B-B14F-4D97-AF65-F5344CB8AC3E}">
        <p14:creationId xmlns:p14="http://schemas.microsoft.com/office/powerpoint/2010/main" val="65778448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8FD1552-547E-4B28-BD38-00C58A5971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defTabSz="9142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Key Concepts of M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22F4C7B-B539-4069-9F21-225650E724DE}"/>
              </a:ext>
            </a:extLst>
          </p:cNvPr>
          <p:cNvSpPr/>
          <p:nvPr/>
        </p:nvSpPr>
        <p:spPr bwMode="auto">
          <a:xfrm>
            <a:off x="294486" y="1851890"/>
            <a:ext cx="3622309" cy="446612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1017BCD-47A0-4584-960F-BFFB97ADC017}"/>
              </a:ext>
            </a:extLst>
          </p:cNvPr>
          <p:cNvSpPr/>
          <p:nvPr/>
        </p:nvSpPr>
        <p:spPr bwMode="auto">
          <a:xfrm>
            <a:off x="4056358" y="1829029"/>
            <a:ext cx="3622309" cy="446612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25E719B-45F1-42BF-B815-4062D4EE8970}"/>
              </a:ext>
            </a:extLst>
          </p:cNvPr>
          <p:cNvSpPr/>
          <p:nvPr/>
        </p:nvSpPr>
        <p:spPr bwMode="auto">
          <a:xfrm>
            <a:off x="7818230" y="1829028"/>
            <a:ext cx="3622309" cy="446612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F97735C-8DB1-49AA-8B4A-657D607C939C}"/>
              </a:ext>
            </a:extLst>
          </p:cNvPr>
          <p:cNvSpPr/>
          <p:nvPr/>
        </p:nvSpPr>
        <p:spPr bwMode="auto">
          <a:xfrm>
            <a:off x="77972" y="6606363"/>
            <a:ext cx="1906772" cy="2209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5025768F-FE25-4F32-AB7A-A0D1F27237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7120094"/>
              </p:ext>
            </p:extLst>
          </p:nvPr>
        </p:nvGraphicFramePr>
        <p:xfrm>
          <a:off x="457200" y="1909567"/>
          <a:ext cx="11235600" cy="429971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45200">
                  <a:extLst>
                    <a:ext uri="{9D8B030D-6E8A-4147-A177-3AD203B41FA5}">
                      <a16:colId xmlns:a16="http://schemas.microsoft.com/office/drawing/2014/main" val="2677576162"/>
                    </a:ext>
                  </a:extLst>
                </a:gridCol>
                <a:gridCol w="3745200">
                  <a:extLst>
                    <a:ext uri="{9D8B030D-6E8A-4147-A177-3AD203B41FA5}">
                      <a16:colId xmlns:a16="http://schemas.microsoft.com/office/drawing/2014/main" val="2239731637"/>
                    </a:ext>
                  </a:extLst>
                </a:gridCol>
                <a:gridCol w="3745200">
                  <a:extLst>
                    <a:ext uri="{9D8B030D-6E8A-4147-A177-3AD203B41FA5}">
                      <a16:colId xmlns:a16="http://schemas.microsoft.com/office/drawing/2014/main" val="185735598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rgbClr val="505050"/>
                          </a:solidFill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M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rgbClr val="505050"/>
                          </a:solidFill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M Func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rgbClr val="505050"/>
                          </a:solidFill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M Synta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173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Used to create new artifacts and litera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Foundation of transform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How your queries are structur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94083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lvl="1" indent="-285750">
                        <a:lnSpc>
                          <a:spcPct val="9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#date(2016,01,01)</a:t>
                      </a:r>
                    </a:p>
                    <a:p>
                      <a:pPr marL="285750" lvl="1" indent="-285750">
                        <a:lnSpc>
                          <a:spcPct val="9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#date(YYYY,MM,DD)</a:t>
                      </a:r>
                    </a:p>
                    <a:p>
                      <a:pPr marL="285750" lvl="1" indent="-285750">
                        <a:lnSpc>
                          <a:spcPct val="9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#datetime(2016,02,26, 09,15,00)</a:t>
                      </a:r>
                    </a:p>
                    <a:p>
                      <a:pPr marL="285750" lvl="1" indent="-285750">
                        <a:lnSpc>
                          <a:spcPct val="9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#datetime(YYYY,MM,DD,HH,MM,SS)</a:t>
                      </a:r>
                    </a:p>
                    <a:p>
                      <a:pPr marL="285750" lvl="1" indent="-285750">
                        <a:lnSpc>
                          <a:spcPct val="9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#table({"X","Y"},{{0,1},{1,0}})</a:t>
                      </a:r>
                    </a:p>
                    <a:p>
                      <a:pPr marL="285750" lvl="1" indent="-285750">
                        <a:lnSpc>
                          <a:spcPct val="9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[a = 100, b = 200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9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b="1" dirty="0">
                          <a:solidFill>
                            <a:srgbClr val="505050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Syntax</a:t>
                      </a:r>
                      <a:r>
                        <a:rPr lang="en-US" sz="1600" b="1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:  </a:t>
                      </a:r>
                      <a:r>
                        <a:rPr lang="en-US" sz="1600" dirty="0" err="1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Object.Action</a:t>
                      </a:r>
                      <a:r>
                        <a:rPr lang="en-US" sz="1600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() </a:t>
                      </a:r>
                    </a:p>
                    <a:p>
                      <a:pPr marL="285750" indent="-285750">
                        <a:lnSpc>
                          <a:spcPct val="9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600" dirty="0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  <a:p>
                      <a:pPr marL="285750" indent="-285750">
                        <a:lnSpc>
                          <a:spcPct val="9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b="1" dirty="0">
                          <a:solidFill>
                            <a:srgbClr val="505050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Objects</a:t>
                      </a:r>
                      <a:r>
                        <a:rPr lang="en-US" sz="1600" b="1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: </a:t>
                      </a:r>
                      <a:r>
                        <a:rPr lang="en-US" sz="1600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Table, List, Record, Text, Number, Date, etc.</a:t>
                      </a:r>
                    </a:p>
                    <a:p>
                      <a:pPr marL="285750" indent="-285750">
                        <a:lnSpc>
                          <a:spcPct val="9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600" dirty="0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  <a:p>
                      <a:pPr marL="285750" indent="-285750">
                        <a:lnSpc>
                          <a:spcPct val="9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b="1" dirty="0">
                          <a:solidFill>
                            <a:srgbClr val="505050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Actions (Camel Case):</a:t>
                      </a:r>
                      <a:r>
                        <a:rPr lang="en-US" sz="1600" dirty="0">
                          <a:solidFill>
                            <a:srgbClr val="505050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 </a:t>
                      </a:r>
                      <a:br>
                        <a:rPr lang="en-US" sz="1600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</a:br>
                      <a:r>
                        <a:rPr lang="en-US" sz="1600" dirty="0" err="1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ToList</a:t>
                      </a:r>
                      <a:r>
                        <a:rPr lang="en-US" sz="1600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, </a:t>
                      </a:r>
                      <a:r>
                        <a:rPr lang="en-US" sz="1600" dirty="0" err="1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DayOfWeek</a:t>
                      </a:r>
                      <a:r>
                        <a:rPr lang="en-US" sz="1600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, </a:t>
                      </a:r>
                      <a:r>
                        <a:rPr lang="en-US" sz="1600" dirty="0" err="1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ToNumber</a:t>
                      </a:r>
                      <a:r>
                        <a:rPr lang="en-US" sz="1600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, </a:t>
                      </a:r>
                      <a:r>
                        <a:rPr lang="en-US" sz="1600" dirty="0" err="1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FromText</a:t>
                      </a:r>
                      <a:r>
                        <a:rPr lang="en-US" sz="1600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, etc.</a:t>
                      </a:r>
                    </a:p>
                    <a:p>
                      <a:pPr marL="285750" indent="-285750">
                        <a:lnSpc>
                          <a:spcPct val="9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600" dirty="0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  <a:p>
                      <a:pPr marL="285750" marR="0" lvl="0" indent="-285750" algn="l" defTabSz="914367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="1" dirty="0">
                          <a:solidFill>
                            <a:srgbClr val="505050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Examples</a:t>
                      </a:r>
                      <a:r>
                        <a:rPr lang="en-US" sz="1600" b="1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:</a:t>
                      </a:r>
                      <a:r>
                        <a:rPr lang="en-US" sz="1600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 </a:t>
                      </a:r>
                      <a:br>
                        <a:rPr lang="en-US" sz="1600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</a:br>
                      <a:r>
                        <a:rPr lang="en-US" sz="1600" dirty="0" err="1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Table.SelectRows</a:t>
                      </a:r>
                      <a:r>
                        <a:rPr lang="en-US" sz="1600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, </a:t>
                      </a:r>
                      <a:r>
                        <a:rPr lang="en-US" sz="1600" dirty="0" err="1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Date.FromText</a:t>
                      </a:r>
                      <a:r>
                        <a:rPr lang="en-US" sz="1600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, </a:t>
                      </a:r>
                      <a:r>
                        <a:rPr lang="en-US" sz="1600" dirty="0" err="1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Number.FromText</a:t>
                      </a:r>
                      <a:endParaRPr lang="en-US" sz="1600" dirty="0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1" indent="-285750">
                        <a:lnSpc>
                          <a:spcPct val="9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let in each</a:t>
                      </a:r>
                    </a:p>
                    <a:p>
                      <a:pPr marL="285750" indent="-285750">
                        <a:lnSpc>
                          <a:spcPct val="9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if then else </a:t>
                      </a:r>
                    </a:p>
                    <a:p>
                      <a:pPr marL="285750" indent="-285750">
                        <a:lnSpc>
                          <a:spcPct val="9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true false error</a:t>
                      </a:r>
                    </a:p>
                    <a:p>
                      <a:pPr marL="285750" indent="-285750">
                        <a:lnSpc>
                          <a:spcPct val="9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and or not</a:t>
                      </a:r>
                    </a:p>
                    <a:p>
                      <a:pPr marL="285750" indent="-285750">
                        <a:lnSpc>
                          <a:spcPct val="9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try otherwise </a:t>
                      </a:r>
                    </a:p>
                    <a:p>
                      <a:pPr marL="285750" indent="-285750">
                        <a:lnSpc>
                          <a:spcPct val="9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as is meta section shared typ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57188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6134390"/>
      </p:ext>
    </p:extLst>
  </p:cSld>
  <p:clrMapOvr>
    <a:masterClrMapping/>
  </p:clrMapOvr>
  <p:transition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8FD1552-547E-4B28-BD38-00C58A5971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defTabSz="9142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kern="0" cap="none" spc="0" dirty="0">
                <a:ln>
                  <a:noFill/>
                </a:ln>
                <a:latin typeface="Segoe UI" panose="020B0502040204020203" pitchFamily="34" charset="0"/>
              </a:rPr>
              <a:t>Primitive Type </a:t>
            </a:r>
            <a:r>
              <a:rPr kumimoji="0" lang="en-US" sz="4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Valu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1017BCD-47A0-4584-960F-BFFB97ADC017}"/>
              </a:ext>
            </a:extLst>
          </p:cNvPr>
          <p:cNvSpPr/>
          <p:nvPr/>
        </p:nvSpPr>
        <p:spPr bwMode="auto">
          <a:xfrm>
            <a:off x="4056358" y="1829029"/>
            <a:ext cx="3622309" cy="446612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25E719B-45F1-42BF-B815-4062D4EE8970}"/>
              </a:ext>
            </a:extLst>
          </p:cNvPr>
          <p:cNvSpPr/>
          <p:nvPr/>
        </p:nvSpPr>
        <p:spPr bwMode="auto">
          <a:xfrm>
            <a:off x="7818230" y="1829028"/>
            <a:ext cx="3622309" cy="446612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F97735C-8DB1-49AA-8B4A-657D607C939C}"/>
              </a:ext>
            </a:extLst>
          </p:cNvPr>
          <p:cNvSpPr/>
          <p:nvPr/>
        </p:nvSpPr>
        <p:spPr bwMode="auto">
          <a:xfrm>
            <a:off x="77972" y="6606363"/>
            <a:ext cx="1906772" cy="2209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6B2D1CA-3158-467F-95C5-6FE1A1E85A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3440607"/>
              </p:ext>
            </p:extLst>
          </p:nvPr>
        </p:nvGraphicFramePr>
        <p:xfrm>
          <a:off x="660196" y="1637940"/>
          <a:ext cx="11109871" cy="4351336"/>
        </p:xfrm>
        <a:graphic>
          <a:graphicData uri="http://schemas.openxmlformats.org/drawingml/2006/table">
            <a:tbl>
              <a:tblPr/>
              <a:tblGrid>
                <a:gridCol w="1938670">
                  <a:extLst>
                    <a:ext uri="{9D8B030D-6E8A-4147-A177-3AD203B41FA5}">
                      <a16:colId xmlns:a16="http://schemas.microsoft.com/office/drawing/2014/main" val="3367326232"/>
                    </a:ext>
                  </a:extLst>
                </a:gridCol>
                <a:gridCol w="3491866">
                  <a:extLst>
                    <a:ext uri="{9D8B030D-6E8A-4147-A177-3AD203B41FA5}">
                      <a16:colId xmlns:a16="http://schemas.microsoft.com/office/drawing/2014/main" val="2388008421"/>
                    </a:ext>
                  </a:extLst>
                </a:gridCol>
                <a:gridCol w="1026112">
                  <a:extLst>
                    <a:ext uri="{9D8B030D-6E8A-4147-A177-3AD203B41FA5}">
                      <a16:colId xmlns:a16="http://schemas.microsoft.com/office/drawing/2014/main" val="3564795212"/>
                    </a:ext>
                  </a:extLst>
                </a:gridCol>
                <a:gridCol w="1114192">
                  <a:extLst>
                    <a:ext uri="{9D8B030D-6E8A-4147-A177-3AD203B41FA5}">
                      <a16:colId xmlns:a16="http://schemas.microsoft.com/office/drawing/2014/main" val="3450789611"/>
                    </a:ext>
                  </a:extLst>
                </a:gridCol>
                <a:gridCol w="3539031">
                  <a:extLst>
                    <a:ext uri="{9D8B030D-6E8A-4147-A177-3AD203B41FA5}">
                      <a16:colId xmlns:a16="http://schemas.microsoft.com/office/drawing/2014/main" val="991810047"/>
                    </a:ext>
                  </a:extLst>
                </a:gridCol>
              </a:tblGrid>
              <a:tr h="395576">
                <a:tc>
                  <a:txBody>
                    <a:bodyPr/>
                    <a:lstStyle/>
                    <a:p>
                      <a:pPr algn="l" latinLnBrk="0"/>
                      <a:r>
                        <a:rPr lang="en-US" sz="1500" b="1" dirty="0">
                          <a:solidFill>
                            <a:srgbClr val="50505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ype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en-US" sz="1500" b="1" dirty="0">
                          <a:solidFill>
                            <a:srgbClr val="50505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Example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endParaRPr lang="en-US" sz="1500" b="1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en-US" sz="1500" b="1" dirty="0">
                          <a:solidFill>
                            <a:srgbClr val="50505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ype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en-US" sz="1500" b="1" dirty="0">
                          <a:solidFill>
                            <a:srgbClr val="50505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Example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4467080"/>
                  </a:ext>
                </a:extLst>
              </a:tr>
              <a:tr h="395576">
                <a:tc>
                  <a:txBody>
                    <a:bodyPr/>
                    <a:lstStyle/>
                    <a:p>
                      <a:pPr latinLnBrk="0"/>
                      <a:r>
                        <a:rPr lang="en-US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inary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#binary("AQID")</a:t>
                      </a:r>
                      <a:endParaRPr lang="en-US" sz="1400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400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st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{“foo”, “bar”, 10}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9638832"/>
                  </a:ext>
                </a:extLst>
              </a:tr>
              <a:tr h="395576">
                <a:tc>
                  <a:txBody>
                    <a:bodyPr/>
                    <a:lstStyle/>
                    <a:p>
                      <a:pPr latinLnBrk="0"/>
                      <a:r>
                        <a:rPr lang="en-US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date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#date(2021,7,10)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400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5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cord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5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[a = 10, b = 20]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8529909"/>
                  </a:ext>
                </a:extLst>
              </a:tr>
              <a:tr h="395576">
                <a:tc>
                  <a:txBody>
                    <a:bodyPr/>
                    <a:lstStyle/>
                    <a:p>
                      <a:pPr latinLnBrk="0"/>
                      <a:r>
                        <a:rPr lang="en-US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ime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#time(18,30,0)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400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ype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400" dirty="0" err="1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Value.Type</a:t>
                      </a:r>
                      <a:r>
                        <a:rPr lang="en-US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10)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6300434"/>
                  </a:ext>
                </a:extLst>
              </a:tr>
              <a:tr h="395576">
                <a:tc>
                  <a:txBody>
                    <a:bodyPr/>
                    <a:lstStyle/>
                    <a:p>
                      <a:pPr latinLnBrk="0"/>
                      <a:r>
                        <a:rPr lang="en-US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datetime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#datetime(2021,7,10,18,30,0)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400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400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400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3427327"/>
                  </a:ext>
                </a:extLst>
              </a:tr>
              <a:tr h="395576">
                <a:tc>
                  <a:txBody>
                    <a:bodyPr/>
                    <a:lstStyle/>
                    <a:p>
                      <a:pPr latinLnBrk="0"/>
                      <a:r>
                        <a:rPr lang="en-US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datetimezone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#datetimezone(2021,7,10,18,30,0,0,6)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400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400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400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5424114"/>
                  </a:ext>
                </a:extLst>
              </a:tr>
              <a:tr h="395576">
                <a:tc>
                  <a:txBody>
                    <a:bodyPr/>
                    <a:lstStyle/>
                    <a:p>
                      <a:pPr latinLnBrk="0"/>
                      <a:r>
                        <a:rPr lang="en-US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duration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#duration(1,0,0,0)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400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400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400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6852429"/>
                  </a:ext>
                </a:extLst>
              </a:tr>
              <a:tr h="395576">
                <a:tc>
                  <a:txBody>
                    <a:bodyPr/>
                    <a:lstStyle/>
                    <a:p>
                      <a:pPr latinLnBrk="0"/>
                      <a:r>
                        <a:rPr lang="en-US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gical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rue and false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400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400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400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4063942"/>
                  </a:ext>
                </a:extLst>
              </a:tr>
              <a:tr h="395576">
                <a:tc>
                  <a:txBody>
                    <a:bodyPr/>
                    <a:lstStyle/>
                    <a:p>
                      <a:pPr latinLnBrk="0"/>
                      <a:r>
                        <a:rPr lang="en-US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ull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ull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400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400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400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3890112"/>
                  </a:ext>
                </a:extLst>
              </a:tr>
              <a:tr h="395576">
                <a:tc>
                  <a:txBody>
                    <a:bodyPr/>
                    <a:lstStyle/>
                    <a:p>
                      <a:pPr latinLnBrk="0"/>
                      <a:r>
                        <a:rPr lang="en-US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umber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, 1, -1, 1.5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400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400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400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9447938"/>
                  </a:ext>
                </a:extLst>
              </a:tr>
              <a:tr h="395576">
                <a:tc>
                  <a:txBody>
                    <a:bodyPr/>
                    <a:lstStyle/>
                    <a:p>
                      <a:pPr latinLnBrk="0"/>
                      <a:r>
                        <a:rPr lang="en-US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ext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sz="1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“hello, world”</a:t>
                      </a: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400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400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sz="1400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4849" marR="64849" marT="81061" marB="8106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0347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427338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6566A0-9C80-E89C-14C8-4C39C185E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5115" y="2077179"/>
            <a:ext cx="4548068" cy="498598"/>
          </a:xfrm>
        </p:spPr>
        <p:txBody>
          <a:bodyPr/>
          <a:lstStyle/>
          <a:p>
            <a:r>
              <a:rPr lang="en-US" cap="none" dirty="0">
                <a:latin typeface="Segoe UI Semibold" panose="020B0702040204020203" pitchFamily="34" charset="0"/>
              </a:rPr>
              <a:t>Module 1</a:t>
            </a:r>
            <a:endParaRPr lang="en-US" cap="non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47C03D-4EE7-5C3E-845B-DBDED40F8D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25115" y="2858763"/>
            <a:ext cx="4548068" cy="1354217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4400" dirty="0"/>
              <a:t>Getting and Shaping the Data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364D75B-1B87-5687-157F-0CA8F48133D7}"/>
              </a:ext>
            </a:extLst>
          </p:cNvPr>
          <p:cNvGrpSpPr/>
          <p:nvPr/>
        </p:nvGrpSpPr>
        <p:grpSpPr>
          <a:xfrm>
            <a:off x="3825115" y="516429"/>
            <a:ext cx="4548068" cy="1062152"/>
            <a:chOff x="3825115" y="516429"/>
            <a:chExt cx="4548068" cy="1062152"/>
          </a:xfrm>
        </p:grpSpPr>
        <p:sp>
          <p:nvSpPr>
            <p:cNvPr id="8" name="Text Placeholder 1">
              <a:extLst>
                <a:ext uri="{FF2B5EF4-FFF2-40B4-BE49-F238E27FC236}">
                  <a16:creationId xmlns:a16="http://schemas.microsoft.com/office/drawing/2014/main" id="{10836EA4-047D-5360-6970-88848D530EB3}"/>
                </a:ext>
              </a:extLst>
            </p:cNvPr>
            <p:cNvSpPr txBox="1">
              <a:spLocks/>
            </p:cNvSpPr>
            <p:nvPr/>
          </p:nvSpPr>
          <p:spPr>
            <a:xfrm>
              <a:off x="4709287" y="516429"/>
              <a:ext cx="1570601" cy="498598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2400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9" name="Title 3">
              <a:extLst>
                <a:ext uri="{FF2B5EF4-FFF2-40B4-BE49-F238E27FC236}">
                  <a16:creationId xmlns:a16="http://schemas.microsoft.com/office/drawing/2014/main" id="{56BFF73F-5A37-4BC8-019F-6A8097A74AAC}"/>
                </a:ext>
              </a:extLst>
            </p:cNvPr>
            <p:cNvSpPr txBox="1">
              <a:spLocks/>
            </p:cNvSpPr>
            <p:nvPr/>
          </p:nvSpPr>
          <p:spPr>
            <a:xfrm>
              <a:off x="4444791" y="1015027"/>
              <a:ext cx="3928392" cy="4985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cap="none" dirty="0">
                  <a:solidFill>
                    <a:srgbClr val="FED112"/>
                  </a:solidFill>
                </a:rPr>
                <a:t>Power BI </a:t>
              </a:r>
              <a:r>
                <a:rPr lang="en-US" sz="2800" cap="none" dirty="0">
                  <a:solidFill>
                    <a:schemeClr val="tx1"/>
                  </a:solidFill>
                </a:rPr>
                <a:t>Training</a:t>
              </a:r>
              <a:endParaRPr lang="en-US" sz="2800" dirty="0">
                <a:solidFill>
                  <a:schemeClr val="tx1"/>
                </a:solidFill>
              </a:endParaRPr>
            </a:p>
          </p:txBody>
        </p:sp>
        <p:pic>
          <p:nvPicPr>
            <p:cNvPr id="10" name="Picture 9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549E3E53-7AF6-0DBC-4FD2-D632774E34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25115" y="950072"/>
              <a:ext cx="943368" cy="6285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2428512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8FD1552-547E-4B28-BD38-00C58A5971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defTabSz="9142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ext Functions</a:t>
            </a:r>
          </a:p>
        </p:txBody>
      </p:sp>
      <p:sp>
        <p:nvSpPr>
          <p:cNvPr id="10" name="Footer Placeholder 8">
            <a:extLst>
              <a:ext uri="{FF2B5EF4-FFF2-40B4-BE49-F238E27FC236}">
                <a16:creationId xmlns:a16="http://schemas.microsoft.com/office/drawing/2014/main" id="{E9138567-68F3-436C-AAA0-AAF494F7F10C}"/>
              </a:ext>
            </a:extLst>
          </p:cNvPr>
          <p:cNvSpPr txBox="1">
            <a:spLocks/>
          </p:cNvSpPr>
          <p:nvPr/>
        </p:nvSpPr>
        <p:spPr>
          <a:xfrm>
            <a:off x="9677400" y="6637020"/>
            <a:ext cx="2842260" cy="22098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defPPr>
              <a:defRPr lang="en-US"/>
            </a:defPPr>
            <a:lvl1pPr marL="0" algn="ctr" defTabSz="914367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1000" kern="1200" dirty="0" smtClean="0">
                <a:solidFill>
                  <a:srgbClr val="50505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dirty="0"/>
              <a:t>© 2021 Microsoft All rights reserved. 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077358F5-BBCF-4932-A692-A0800AAA3A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6081636"/>
              </p:ext>
            </p:extLst>
          </p:nvPr>
        </p:nvGraphicFramePr>
        <p:xfrm>
          <a:off x="322644" y="2415358"/>
          <a:ext cx="11603101" cy="3915719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184958">
                  <a:extLst>
                    <a:ext uri="{9D8B030D-6E8A-4147-A177-3AD203B41FA5}">
                      <a16:colId xmlns:a16="http://schemas.microsoft.com/office/drawing/2014/main" val="3624074238"/>
                    </a:ext>
                  </a:extLst>
                </a:gridCol>
                <a:gridCol w="5349892">
                  <a:extLst>
                    <a:ext uri="{9D8B030D-6E8A-4147-A177-3AD203B41FA5}">
                      <a16:colId xmlns:a16="http://schemas.microsoft.com/office/drawing/2014/main" val="4291145906"/>
                    </a:ext>
                  </a:extLst>
                </a:gridCol>
                <a:gridCol w="2068251">
                  <a:extLst>
                    <a:ext uri="{9D8B030D-6E8A-4147-A177-3AD203B41FA5}">
                      <a16:colId xmlns:a16="http://schemas.microsoft.com/office/drawing/2014/main" val="1971054893"/>
                    </a:ext>
                  </a:extLst>
                </a:gridCol>
              </a:tblGrid>
              <a:tr h="392240">
                <a:tc>
                  <a:txBody>
                    <a:bodyPr/>
                    <a:lstStyle/>
                    <a:p>
                      <a:r>
                        <a:rPr lang="en-US" dirty="0"/>
                        <a:t>M Function Synta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xcel Synta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 Outpu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2948694"/>
                  </a:ext>
                </a:extLst>
              </a:tr>
              <a:tr h="392240">
                <a:tc>
                  <a:txBody>
                    <a:bodyPr/>
                    <a:lstStyle/>
                    <a:p>
                      <a:r>
                        <a:rPr lang="en-US" sz="15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Text.Start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([</a:t>
                      </a:r>
                      <a:r>
                        <a:rPr lang="en-US" sz="15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yColumn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],</a:t>
                      </a:r>
                      <a:r>
                        <a:rPr lang="en-US" sz="1500" baseline="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3)</a:t>
                      </a:r>
                      <a:endParaRPr lang="en-US" sz="1500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LEFT([</a:t>
                      </a:r>
                      <a:r>
                        <a:rPr lang="en-US" sz="15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yColumn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],</a:t>
                      </a:r>
                      <a:r>
                        <a:rPr lang="en-US" sz="1500" baseline="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3)</a:t>
                      </a:r>
                      <a:endParaRPr lang="en-US" sz="1500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AB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2191711"/>
                  </a:ext>
                </a:extLst>
              </a:tr>
              <a:tr h="392240">
                <a:tc>
                  <a:txBody>
                    <a:bodyPr/>
                    <a:lstStyle/>
                    <a:p>
                      <a:r>
                        <a:rPr lang="en-US" sz="15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Text.End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([</a:t>
                      </a:r>
                      <a:r>
                        <a:rPr lang="en-US" sz="15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yColumn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], 4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RIGHT([</a:t>
                      </a:r>
                      <a:r>
                        <a:rPr lang="en-US" sz="15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yColumn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],</a:t>
                      </a:r>
                      <a:r>
                        <a:rPr lang="en-US" sz="1500" baseline="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4)</a:t>
                      </a:r>
                      <a:endParaRPr lang="en-US" sz="1500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5xyz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3164440"/>
                  </a:ext>
                </a:extLst>
              </a:tr>
              <a:tr h="392240">
                <a:tc>
                  <a:txBody>
                    <a:bodyPr/>
                    <a:lstStyle/>
                    <a:p>
                      <a:r>
                        <a:rPr lang="en-US" sz="15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Text.Range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([</a:t>
                      </a:r>
                      <a:r>
                        <a:rPr lang="en-US" sz="15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yColumn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], 4, 3) </a:t>
                      </a:r>
                      <a:endParaRPr lang="en-US" sz="1500" dirty="0">
                        <a:solidFill>
                          <a:srgbClr val="FF0000"/>
                        </a:solidFill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ID([</a:t>
                      </a:r>
                      <a:r>
                        <a:rPr lang="en-US" sz="15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yColumn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],</a:t>
                      </a:r>
                      <a:r>
                        <a:rPr lang="en-US" sz="1500" baseline="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5, 3) </a:t>
                      </a:r>
                      <a:endParaRPr lang="en-US" sz="1500" dirty="0">
                        <a:solidFill>
                          <a:srgbClr val="FF0000"/>
                        </a:solidFill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2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6104498"/>
                  </a:ext>
                </a:extLst>
              </a:tr>
              <a:tr h="392240">
                <a:tc>
                  <a:txBody>
                    <a:bodyPr/>
                    <a:lstStyle/>
                    <a:p>
                      <a:r>
                        <a:rPr lang="en-US" sz="15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Text.Range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([</a:t>
                      </a:r>
                      <a:r>
                        <a:rPr lang="en-US" sz="15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yColumn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], 4) </a:t>
                      </a:r>
                      <a:endParaRPr lang="en-US" sz="1500" dirty="0">
                        <a:solidFill>
                          <a:srgbClr val="FF0000"/>
                        </a:solidFill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1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ID([</a:t>
                      </a:r>
                      <a:r>
                        <a:rPr lang="en-US" sz="15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yColumn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],</a:t>
                      </a:r>
                      <a:r>
                        <a:rPr lang="en-US" sz="1500" baseline="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5) </a:t>
                      </a:r>
                      <a:endParaRPr lang="en-US" sz="1500" dirty="0">
                        <a:solidFill>
                          <a:srgbClr val="FF0000"/>
                        </a:solidFill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2345xyz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5542760"/>
                  </a:ext>
                </a:extLst>
              </a:tr>
              <a:tr h="385559">
                <a:tc>
                  <a:txBody>
                    <a:bodyPr/>
                    <a:lstStyle/>
                    <a:p>
                      <a:r>
                        <a:rPr lang="en-US" sz="15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Text.StartsWith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([</a:t>
                      </a:r>
                      <a:r>
                        <a:rPr lang="en-US" sz="15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yColumn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], "</a:t>
                      </a:r>
                      <a:r>
                        <a:rPr lang="en-US" sz="15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abc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"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1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IF(LEFT([</a:t>
                      </a:r>
                      <a:r>
                        <a:rPr lang="en-US" sz="15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yColumn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],</a:t>
                      </a:r>
                      <a:r>
                        <a:rPr lang="en-US" sz="1500" baseline="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3)=“</a:t>
                      </a:r>
                      <a:r>
                        <a:rPr lang="en-US" sz="1500" baseline="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abc</a:t>
                      </a:r>
                      <a:r>
                        <a:rPr lang="en-US" sz="1500" baseline="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”</a:t>
                      </a:r>
                      <a:r>
                        <a:rPr lang="en-US" sz="1500" kern="1200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, TRUE(), FALSE())</a:t>
                      </a:r>
                      <a:endParaRPr lang="en-US" sz="1500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FALSE (Excel</a:t>
                      </a:r>
                      <a:r>
                        <a:rPr lang="en-US" sz="1500" baseline="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-&gt; TRUE)</a:t>
                      </a:r>
                      <a:endParaRPr lang="en-US" sz="1500" i="1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7177007"/>
                  </a:ext>
                </a:extLst>
              </a:tr>
              <a:tr h="392240">
                <a:tc>
                  <a:txBody>
                    <a:bodyPr/>
                    <a:lstStyle/>
                    <a:p>
                      <a:r>
                        <a:rPr lang="en-US" sz="15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Text.StartsWith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([</a:t>
                      </a:r>
                      <a:r>
                        <a:rPr lang="en-US" sz="15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yColumn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], “ABC"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1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IF(LEFT([</a:t>
                      </a:r>
                      <a:r>
                        <a:rPr lang="en-US" sz="15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yColumn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],</a:t>
                      </a:r>
                      <a:r>
                        <a:rPr lang="en-US" sz="1500" baseline="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3)=“ABC”</a:t>
                      </a:r>
                      <a:r>
                        <a:rPr lang="en-US" sz="1500" kern="1200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, TRUE(), FALSE())</a:t>
                      </a:r>
                      <a:endParaRPr lang="en-US" sz="1500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1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TRUE</a:t>
                      </a:r>
                      <a:endParaRPr lang="en-US" sz="1500" i="1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3148465"/>
                  </a:ext>
                </a:extLst>
              </a:tr>
              <a:tr h="392240">
                <a:tc>
                  <a:txBody>
                    <a:bodyPr/>
                    <a:lstStyle/>
                    <a:p>
                      <a:r>
                        <a:rPr lang="en-US" sz="15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Text.Length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([</a:t>
                      </a:r>
                      <a:r>
                        <a:rPr lang="en-US" sz="15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yColumn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]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LEN([</a:t>
                      </a:r>
                      <a:r>
                        <a:rPr lang="en-US" sz="15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yColumn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]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3052879"/>
                  </a:ext>
                </a:extLst>
              </a:tr>
              <a:tr h="392240">
                <a:tc>
                  <a:txBody>
                    <a:bodyPr/>
                    <a:lstStyle/>
                    <a:p>
                      <a:r>
                        <a:rPr lang="en-US" sz="15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Text.Contains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([</a:t>
                      </a:r>
                      <a:r>
                        <a:rPr lang="en-US" sz="15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yColumn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], "123"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kern="1200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IF(ISNUMBER(SEARCH(“123",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[</a:t>
                      </a:r>
                      <a:r>
                        <a:rPr lang="en-US" sz="15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yColumn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]</a:t>
                      </a:r>
                      <a:r>
                        <a:rPr lang="en-US" sz="1500" kern="1200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)),TRUE(), FALSE())</a:t>
                      </a:r>
                      <a:r>
                        <a:rPr lang="en-US" sz="1500" dirty="0">
                          <a:solidFill>
                            <a:srgbClr val="FF0000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</a:t>
                      </a:r>
                      <a:endParaRPr lang="en-US" sz="1500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1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TRUE</a:t>
                      </a:r>
                      <a:endParaRPr lang="en-US" sz="1500" i="1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1074"/>
                  </a:ext>
                </a:extLst>
              </a:tr>
              <a:tr h="392240">
                <a:tc>
                  <a:txBody>
                    <a:bodyPr/>
                    <a:lstStyle/>
                    <a:p>
                      <a:r>
                        <a:rPr lang="en-US" sz="15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Text.PositionOf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([</a:t>
                      </a:r>
                      <a:r>
                        <a:rPr lang="en-US" sz="15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yColumn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], "5" 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kern="1200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SEARCH(“5",</a:t>
                      </a:r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[MyColumn]</a:t>
                      </a:r>
                      <a:r>
                        <a:rPr lang="en-US" sz="1500" kern="1200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)</a:t>
                      </a:r>
                      <a:r>
                        <a:rPr lang="en-US" sz="1500" dirty="0">
                          <a:solidFill>
                            <a:srgbClr val="FF0000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</a:t>
                      </a:r>
                      <a:endParaRPr lang="en-US" sz="1500" kern="1200" dirty="0"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7 (Excel -&gt; 8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1189522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F07C4A14-1932-4D7F-BA94-E14A7ABD9A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2644" y="1855146"/>
            <a:ext cx="11346972" cy="424791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3EB7E98-6AF7-40BA-B309-F7F2ADD38D3F}"/>
              </a:ext>
            </a:extLst>
          </p:cNvPr>
          <p:cNvSpPr/>
          <p:nvPr/>
        </p:nvSpPr>
        <p:spPr bwMode="auto">
          <a:xfrm>
            <a:off x="77972" y="6606363"/>
            <a:ext cx="1906772" cy="2209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4951161"/>
      </p:ext>
    </p:extLst>
  </p:cSld>
  <p:clrMapOvr>
    <a:masterClrMapping/>
  </p:clrMapOvr>
  <p:transition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8FD1552-547E-4B28-BD38-00C58A5971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defTabSz="9142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ext Functions</a:t>
            </a:r>
          </a:p>
        </p:txBody>
      </p:sp>
      <p:sp>
        <p:nvSpPr>
          <p:cNvPr id="10" name="Footer Placeholder 8">
            <a:extLst>
              <a:ext uri="{FF2B5EF4-FFF2-40B4-BE49-F238E27FC236}">
                <a16:creationId xmlns:a16="http://schemas.microsoft.com/office/drawing/2014/main" id="{E9138567-68F3-436C-AAA0-AAF494F7F10C}"/>
              </a:ext>
            </a:extLst>
          </p:cNvPr>
          <p:cNvSpPr txBox="1">
            <a:spLocks/>
          </p:cNvSpPr>
          <p:nvPr/>
        </p:nvSpPr>
        <p:spPr>
          <a:xfrm>
            <a:off x="9677400" y="6637020"/>
            <a:ext cx="2842260" cy="22098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defPPr>
              <a:defRPr lang="en-US"/>
            </a:defPPr>
            <a:lvl1pPr marL="0" algn="ctr" defTabSz="914367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1000" kern="1200" dirty="0" smtClean="0">
                <a:solidFill>
                  <a:srgbClr val="50505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dirty="0"/>
              <a:t>© 2021 Microsoft All rights reserved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CCE1A1A-9F8A-4563-8953-170E44F964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5828" y="2183934"/>
            <a:ext cx="11346972" cy="424791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8" name="Bent Arrow 2">
            <a:extLst>
              <a:ext uri="{FF2B5EF4-FFF2-40B4-BE49-F238E27FC236}">
                <a16:creationId xmlns:a16="http://schemas.microsoft.com/office/drawing/2014/main" id="{9A0E60CF-F8A9-455B-B186-F0ADE99EE4C4}"/>
              </a:ext>
            </a:extLst>
          </p:cNvPr>
          <p:cNvSpPr/>
          <p:nvPr/>
        </p:nvSpPr>
        <p:spPr bwMode="auto">
          <a:xfrm rot="10800000" flipH="1">
            <a:off x="546747" y="2608725"/>
            <a:ext cx="2032928" cy="899833"/>
          </a:xfrm>
          <a:prstGeom prst="bentArrow">
            <a:avLst/>
          </a:prstGeom>
          <a:solidFill>
            <a:srgbClr val="F2C81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66AB9EB5-5786-4C0A-8C75-A7D5D570FFB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57250" y="3262335"/>
            <a:ext cx="10477500" cy="2862263"/>
            <a:chOff x="540" y="1298"/>
            <a:chExt cx="6600" cy="1803"/>
          </a:xfrm>
        </p:grpSpPr>
        <p:sp>
          <p:nvSpPr>
            <p:cNvPr id="11" name="AutoShape 3">
              <a:extLst>
                <a:ext uri="{FF2B5EF4-FFF2-40B4-BE49-F238E27FC236}">
                  <a16:creationId xmlns:a16="http://schemas.microsoft.com/office/drawing/2014/main" id="{88E30C61-241B-4BB9-A3D6-F208063E4E8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40" y="1298"/>
              <a:ext cx="6600" cy="18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Rectangle 5">
              <a:extLst>
                <a:ext uri="{FF2B5EF4-FFF2-40B4-BE49-F238E27FC236}">
                  <a16:creationId xmlns:a16="http://schemas.microsoft.com/office/drawing/2014/main" id="{3B03F36E-DBD8-4631-8694-16422C74EE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1" y="1880"/>
              <a:ext cx="1332" cy="2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Rectangle 6">
              <a:extLst>
                <a:ext uri="{FF2B5EF4-FFF2-40B4-BE49-F238E27FC236}">
                  <a16:creationId xmlns:a16="http://schemas.microsoft.com/office/drawing/2014/main" id="{3DA1961A-3932-4920-96DD-B106B848C5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3" y="1880"/>
              <a:ext cx="2142" cy="2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Rectangle 7">
              <a:extLst>
                <a:ext uri="{FF2B5EF4-FFF2-40B4-BE49-F238E27FC236}">
                  <a16:creationId xmlns:a16="http://schemas.microsoft.com/office/drawing/2014/main" id="{3B78B9B3-135B-4A68-9D11-1B407E5F70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3" y="1880"/>
              <a:ext cx="2153" cy="2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8">
              <a:extLst>
                <a:ext uri="{FF2B5EF4-FFF2-40B4-BE49-F238E27FC236}">
                  <a16:creationId xmlns:a16="http://schemas.microsoft.com/office/drawing/2014/main" id="{ECBA5944-93CD-45D2-A9FE-5805DC7A5C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0" y="1490"/>
              <a:ext cx="235" cy="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M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" name="Rectangle 9">
              <a:extLst>
                <a:ext uri="{FF2B5EF4-FFF2-40B4-BE49-F238E27FC236}">
                  <a16:creationId xmlns:a16="http://schemas.microsoft.com/office/drawing/2014/main" id="{975AD82F-A087-4C5C-BFFC-DCF20C4678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78" y="1490"/>
              <a:ext cx="374" cy="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Excel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" name="Rectangle 10">
              <a:extLst>
                <a:ext uri="{FF2B5EF4-FFF2-40B4-BE49-F238E27FC236}">
                  <a16:creationId xmlns:a16="http://schemas.microsoft.com/office/drawing/2014/main" id="{A9480D6A-F4D0-4D36-BDC6-A472F6DF1A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5" y="1668"/>
              <a:ext cx="520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Position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" name="Rectangle 11">
              <a:extLst>
                <a:ext uri="{FF2B5EF4-FFF2-40B4-BE49-F238E27FC236}">
                  <a16:creationId xmlns:a16="http://schemas.microsoft.com/office/drawing/2014/main" id="{71A2B69F-5652-49DA-96F4-5DAEBB365A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47" y="1688"/>
              <a:ext cx="1869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1" i="0" u="none" strike="noStrike" cap="none" normalizeH="0" baseline="0" dirty="0">
                  <a:ln>
                    <a:noFill/>
                  </a:ln>
                  <a:solidFill>
                    <a:srgbClr val="505050"/>
                  </a:solidFill>
                  <a:effectLst/>
                  <a:latin typeface="Calibri" panose="020F0502020204030204" pitchFamily="34" charset="0"/>
                </a:rPr>
                <a:t>0    1    2   3   4   5    6   7   8   9   10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50505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" name="Rectangle 12">
              <a:extLst>
                <a:ext uri="{FF2B5EF4-FFF2-40B4-BE49-F238E27FC236}">
                  <a16:creationId xmlns:a16="http://schemas.microsoft.com/office/drawing/2014/main" id="{BC21EBB1-219F-45B5-B876-EA54D7DB71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7" y="1688"/>
              <a:ext cx="1939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1" i="0" u="none" strike="noStrike" cap="none" normalizeH="0" baseline="0" dirty="0">
                  <a:ln>
                    <a:noFill/>
                  </a:ln>
                  <a:solidFill>
                    <a:srgbClr val="505050"/>
                  </a:solidFill>
                  <a:effectLst/>
                  <a:latin typeface="Calibri" panose="020F0502020204030204" pitchFamily="34" charset="0"/>
                </a:rPr>
                <a:t>1    2   3    4   5   6    7   8   9   10   11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50505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E2197B95-210B-44A6-9F94-AED10549F1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8" y="1885"/>
              <a:ext cx="781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 Light" panose="020B0502040204020203" pitchFamily="34" charset="0"/>
                </a:rPr>
                <a:t>My Column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1" name="Rectangle 14">
              <a:extLst>
                <a:ext uri="{FF2B5EF4-FFF2-40B4-BE49-F238E27FC236}">
                  <a16:creationId xmlns:a16="http://schemas.microsoft.com/office/drawing/2014/main" id="{02B37EA9-19AB-4365-9ACA-AF19BA31F9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47" y="1885"/>
              <a:ext cx="2047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 Light" panose="020B0502040204020203" pitchFamily="34" charset="0"/>
                </a:rPr>
                <a:t>A   B   C   1   2   3   4   5   x   y   z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2" name="Rectangle 15">
              <a:extLst>
                <a:ext uri="{FF2B5EF4-FFF2-40B4-BE49-F238E27FC236}">
                  <a16:creationId xmlns:a16="http://schemas.microsoft.com/office/drawing/2014/main" id="{4434E030-DD88-43BD-87A4-F8BC7436A5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7" y="1885"/>
              <a:ext cx="2123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 Light" panose="020B0502040204020203" pitchFamily="34" charset="0"/>
                </a:rPr>
                <a:t>A   B   C   1   2   3   4   5   x    y    z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3" name="Rectangle 16">
              <a:extLst>
                <a:ext uri="{FF2B5EF4-FFF2-40B4-BE49-F238E27FC236}">
                  <a16:creationId xmlns:a16="http://schemas.microsoft.com/office/drawing/2014/main" id="{5978305F-BCF5-4BCD-9097-CB9C0B0733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5" y="2284"/>
              <a:ext cx="915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Return "ABC"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4" name="Rectangle 17">
              <a:extLst>
                <a:ext uri="{FF2B5EF4-FFF2-40B4-BE49-F238E27FC236}">
                  <a16:creationId xmlns:a16="http://schemas.microsoft.com/office/drawing/2014/main" id="{BC8D3A5D-2791-4E75-BA54-FB4C77D492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0" y="2284"/>
              <a:ext cx="1682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Text.Start([MyColumn], 3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5" name="Rectangle 18">
              <a:extLst>
                <a:ext uri="{FF2B5EF4-FFF2-40B4-BE49-F238E27FC236}">
                  <a16:creationId xmlns:a16="http://schemas.microsoft.com/office/drawing/2014/main" id="{510560B6-8BFE-41FA-81FC-42C0429EE4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9" y="2284"/>
              <a:ext cx="1376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LEFT([MyColumn], 3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6" name="Rectangle 19">
              <a:extLst>
                <a:ext uri="{FF2B5EF4-FFF2-40B4-BE49-F238E27FC236}">
                  <a16:creationId xmlns:a16="http://schemas.microsoft.com/office/drawing/2014/main" id="{0050F524-F71E-4489-BEFC-8CD449C6B8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9" y="2495"/>
              <a:ext cx="882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Return "234"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7" name="Rectangle 20">
              <a:extLst>
                <a:ext uri="{FF2B5EF4-FFF2-40B4-BE49-F238E27FC236}">
                  <a16:creationId xmlns:a16="http://schemas.microsoft.com/office/drawing/2014/main" id="{F986E47A-5F07-423F-8142-1BDD8F860B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96" y="2495"/>
              <a:ext cx="1663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Text.Range([MyColumn],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8" name="Rectangle 21">
              <a:extLst>
                <a:ext uri="{FF2B5EF4-FFF2-40B4-BE49-F238E27FC236}">
                  <a16:creationId xmlns:a16="http://schemas.microsoft.com/office/drawing/2014/main" id="{27C50B75-0328-4E7D-AFAB-B9CFD09E36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5" y="2495"/>
              <a:ext cx="79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1" i="0" u="none" strike="noStrike" cap="none" normalizeH="0" baseline="0" dirty="0">
                  <a:ln>
                    <a:noFill/>
                  </a:ln>
                  <a:solidFill>
                    <a:srgbClr val="505050"/>
                  </a:solidFill>
                  <a:effectLst/>
                  <a:latin typeface="Segoe UI" panose="020B0502040204020203" pitchFamily="34" charset="0"/>
                </a:rPr>
                <a:t>4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50505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9" name="Rectangle 22">
              <a:extLst>
                <a:ext uri="{FF2B5EF4-FFF2-40B4-BE49-F238E27FC236}">
                  <a16:creationId xmlns:a16="http://schemas.microsoft.com/office/drawing/2014/main" id="{00A57F14-5B21-4F03-8A46-B7E7C4E012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6" y="2495"/>
              <a:ext cx="268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, 3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0" name="Rectangle 23">
              <a:extLst>
                <a:ext uri="{FF2B5EF4-FFF2-40B4-BE49-F238E27FC236}">
                  <a16:creationId xmlns:a16="http://schemas.microsoft.com/office/drawing/2014/main" id="{3B4C2993-63E9-446F-9BD9-D6C3281F01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6" y="2495"/>
              <a:ext cx="1193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MID([MyColumn,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" name="Rectangle 24">
              <a:extLst>
                <a:ext uri="{FF2B5EF4-FFF2-40B4-BE49-F238E27FC236}">
                  <a16:creationId xmlns:a16="http://schemas.microsoft.com/office/drawing/2014/main" id="{63B5131D-7ED7-4AD6-8C74-34A5895627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5" y="2495"/>
              <a:ext cx="79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1" i="0" u="none" strike="noStrike" cap="none" normalizeH="0" baseline="0" dirty="0">
                  <a:ln>
                    <a:noFill/>
                  </a:ln>
                  <a:solidFill>
                    <a:srgbClr val="505050"/>
                  </a:solidFill>
                  <a:effectLst/>
                  <a:latin typeface="Segoe UI" panose="020B0502040204020203" pitchFamily="34" charset="0"/>
                </a:rPr>
                <a:t>5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50505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2" name="Rectangle 25">
              <a:extLst>
                <a:ext uri="{FF2B5EF4-FFF2-40B4-BE49-F238E27FC236}">
                  <a16:creationId xmlns:a16="http://schemas.microsoft.com/office/drawing/2014/main" id="{4FF4F9C5-F2F4-440C-B038-A49C9E9693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6" y="2495"/>
              <a:ext cx="268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, 3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3" name="Rectangle 26">
              <a:extLst>
                <a:ext uri="{FF2B5EF4-FFF2-40B4-BE49-F238E27FC236}">
                  <a16:creationId xmlns:a16="http://schemas.microsoft.com/office/drawing/2014/main" id="{6206B03F-BA4E-4E8E-966B-3109404CDE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2" y="2707"/>
              <a:ext cx="1299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Find position of "5"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" name="Rectangle 27">
              <a:extLst>
                <a:ext uri="{FF2B5EF4-FFF2-40B4-BE49-F238E27FC236}">
                  <a16:creationId xmlns:a16="http://schemas.microsoft.com/office/drawing/2014/main" id="{37FDDB97-F3D2-4609-BEE4-0F4800A618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04" y="2707"/>
              <a:ext cx="2042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PositionOf([MyColumn], "5") =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" name="Rectangle 28">
              <a:extLst>
                <a:ext uri="{FF2B5EF4-FFF2-40B4-BE49-F238E27FC236}">
                  <a16:creationId xmlns:a16="http://schemas.microsoft.com/office/drawing/2014/main" id="{27CC67C7-A724-47B4-B3D9-88D5CFDF95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03" y="2707"/>
              <a:ext cx="168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1" i="0" u="none" strike="noStrike" cap="none" normalizeH="0" baseline="0">
                  <a:ln>
                    <a:noFill/>
                  </a:ln>
                  <a:solidFill>
                    <a:srgbClr val="FF0000"/>
                  </a:solidFill>
                  <a:effectLst/>
                  <a:latin typeface="Segoe UI" panose="020B0502040204020203" pitchFamily="34" charset="0"/>
                </a:rPr>
                <a:t>7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" name="Rectangle 29">
              <a:extLst>
                <a:ext uri="{FF2B5EF4-FFF2-40B4-BE49-F238E27FC236}">
                  <a16:creationId xmlns:a16="http://schemas.microsoft.com/office/drawing/2014/main" id="{32AAC7F8-705F-4F60-84A3-117B6E8988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" y="2707"/>
              <a:ext cx="1898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SEARCH("5", [MyColumn]) =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" name="Rectangle 30">
              <a:extLst>
                <a:ext uri="{FF2B5EF4-FFF2-40B4-BE49-F238E27FC236}">
                  <a16:creationId xmlns:a16="http://schemas.microsoft.com/office/drawing/2014/main" id="{A3BFC882-BE4F-45BB-A5DB-A3EB064130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1" y="2707"/>
              <a:ext cx="168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1" i="0" u="none" strike="noStrike" cap="none" normalizeH="0" baseline="0">
                  <a:ln>
                    <a:noFill/>
                  </a:ln>
                  <a:solidFill>
                    <a:srgbClr val="FF0000"/>
                  </a:solidFill>
                  <a:effectLst/>
                  <a:latin typeface="Segoe UI" panose="020B0502040204020203" pitchFamily="34" charset="0"/>
                </a:rPr>
                <a:t>8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" name="Rectangle 31">
              <a:extLst>
                <a:ext uri="{FF2B5EF4-FFF2-40B4-BE49-F238E27FC236}">
                  <a16:creationId xmlns:a16="http://schemas.microsoft.com/office/drawing/2014/main" id="{467B34CE-F39B-49FF-B394-5F087C9CE5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8" y="1875"/>
              <a:ext cx="2137" cy="1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32">
              <a:extLst>
                <a:ext uri="{FF2B5EF4-FFF2-40B4-BE49-F238E27FC236}">
                  <a16:creationId xmlns:a16="http://schemas.microsoft.com/office/drawing/2014/main" id="{E2E7DD13-378B-4763-B1E3-E2FDBCC42C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8" y="2091"/>
              <a:ext cx="2137" cy="1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Rectangle 33">
              <a:extLst>
                <a:ext uri="{FF2B5EF4-FFF2-40B4-BE49-F238E27FC236}">
                  <a16:creationId xmlns:a16="http://schemas.microsoft.com/office/drawing/2014/main" id="{AE8D863B-8AEC-4DB4-8757-5B91853E36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18" y="1875"/>
              <a:ext cx="10" cy="22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4">
              <a:extLst>
                <a:ext uri="{FF2B5EF4-FFF2-40B4-BE49-F238E27FC236}">
                  <a16:creationId xmlns:a16="http://schemas.microsoft.com/office/drawing/2014/main" id="{34C23933-8C44-4B6B-9DAB-A63BA499F6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6" y="1885"/>
              <a:ext cx="9" cy="21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35">
              <a:extLst>
                <a:ext uri="{FF2B5EF4-FFF2-40B4-BE49-F238E27FC236}">
                  <a16:creationId xmlns:a16="http://schemas.microsoft.com/office/drawing/2014/main" id="{BBCD5B3F-E6D2-48B3-85D0-A66B0C39BA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9" y="1875"/>
              <a:ext cx="9" cy="22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36">
              <a:extLst>
                <a:ext uri="{FF2B5EF4-FFF2-40B4-BE49-F238E27FC236}">
                  <a16:creationId xmlns:a16="http://schemas.microsoft.com/office/drawing/2014/main" id="{AB9F88B4-4E6A-4712-939C-2E32BDB388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6" y="1885"/>
              <a:ext cx="10" cy="21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Rectangle 37">
              <a:extLst>
                <a:ext uri="{FF2B5EF4-FFF2-40B4-BE49-F238E27FC236}">
                  <a16:creationId xmlns:a16="http://schemas.microsoft.com/office/drawing/2014/main" id="{C28FC291-ED7B-4F5F-A4A9-FCE46DF44E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8" y="1875"/>
              <a:ext cx="2148" cy="1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38">
              <a:extLst>
                <a:ext uri="{FF2B5EF4-FFF2-40B4-BE49-F238E27FC236}">
                  <a16:creationId xmlns:a16="http://schemas.microsoft.com/office/drawing/2014/main" id="{FF7080A1-4380-4FF8-A504-46A81FC216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8" y="2091"/>
              <a:ext cx="2148" cy="1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0870B123-AD91-4DDE-A99D-2341224F49B6}"/>
              </a:ext>
            </a:extLst>
          </p:cNvPr>
          <p:cNvSpPr/>
          <p:nvPr/>
        </p:nvSpPr>
        <p:spPr bwMode="auto">
          <a:xfrm>
            <a:off x="77972" y="6606363"/>
            <a:ext cx="1906772" cy="2209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4806327"/>
      </p:ext>
    </p:extLst>
  </p:cSld>
  <p:clrMapOvr>
    <a:masterClrMapping/>
  </p:clrMapOvr>
  <p:transition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8FD1552-547E-4B28-BD38-00C58A597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615" y="424422"/>
            <a:ext cx="10339200" cy="708336"/>
          </a:xfrm>
        </p:spPr>
        <p:txBody>
          <a:bodyPr/>
          <a:lstStyle/>
          <a:p>
            <a:pPr marL="0" marR="0" lvl="0" indent="0" defTabSz="9142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kern="0" spc="0" dirty="0">
                <a:ln>
                  <a:noFill/>
                </a:ln>
                <a:latin typeface="Segoe UI" panose="020B0502040204020203" pitchFamily="34" charset="0"/>
              </a:rPr>
              <a:t>i</a:t>
            </a:r>
            <a:r>
              <a:rPr kumimoji="0" lang="en-US" sz="4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….then….else</a:t>
            </a:r>
          </a:p>
        </p:txBody>
      </p:sp>
      <p:sp>
        <p:nvSpPr>
          <p:cNvPr id="10" name="Footer Placeholder 8">
            <a:extLst>
              <a:ext uri="{FF2B5EF4-FFF2-40B4-BE49-F238E27FC236}">
                <a16:creationId xmlns:a16="http://schemas.microsoft.com/office/drawing/2014/main" id="{E9138567-68F3-436C-AAA0-AAF494F7F10C}"/>
              </a:ext>
            </a:extLst>
          </p:cNvPr>
          <p:cNvSpPr txBox="1">
            <a:spLocks/>
          </p:cNvSpPr>
          <p:nvPr/>
        </p:nvSpPr>
        <p:spPr>
          <a:xfrm>
            <a:off x="9677400" y="6637020"/>
            <a:ext cx="2842260" cy="22098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defPPr>
              <a:defRPr lang="en-US"/>
            </a:defPPr>
            <a:lvl1pPr marL="0" algn="ctr" defTabSz="914367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1000" kern="1200" dirty="0" smtClean="0">
                <a:solidFill>
                  <a:srgbClr val="50505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dirty="0"/>
              <a:t>© 2021 Microsoft All rights reserved. </a:t>
            </a:r>
          </a:p>
        </p:txBody>
      </p:sp>
      <p:sp>
        <p:nvSpPr>
          <p:cNvPr id="2" name="Subtitle 4">
            <a:extLst>
              <a:ext uri="{FF2B5EF4-FFF2-40B4-BE49-F238E27FC236}">
                <a16:creationId xmlns:a16="http://schemas.microsoft.com/office/drawing/2014/main" id="{3AD25680-7D79-4822-933A-9611236D6782}"/>
              </a:ext>
            </a:extLst>
          </p:cNvPr>
          <p:cNvSpPr txBox="1">
            <a:spLocks/>
          </p:cNvSpPr>
          <p:nvPr/>
        </p:nvSpPr>
        <p:spPr>
          <a:xfrm>
            <a:off x="470912" y="1464209"/>
            <a:ext cx="5844540" cy="447258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556" indent="-228556" algn="l" defTabSz="91422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668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781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893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005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118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30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41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53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18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Basic Syntax:</a:t>
            </a:r>
            <a:br>
              <a:rPr lang="en-US" sz="180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1800" b="1" dirty="0">
                <a:solidFill>
                  <a:srgbClr val="50505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f</a:t>
            </a:r>
            <a:r>
              <a:rPr lang="en-US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 &lt;test if true&gt; </a:t>
            </a:r>
            <a:r>
              <a:rPr lang="en-US" sz="1800" b="1" dirty="0">
                <a:solidFill>
                  <a:srgbClr val="50505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hen</a:t>
            </a:r>
            <a:r>
              <a:rPr lang="en-US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 &lt;result if true&gt; else &lt;result if false&gt;</a:t>
            </a:r>
          </a:p>
          <a:p>
            <a:pPr marL="228594" indent="-228594">
              <a:spcAft>
                <a:spcPts val="600"/>
              </a:spcAft>
            </a:pPr>
            <a:r>
              <a:rPr lang="en-US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if’s can be chained or nested</a:t>
            </a:r>
          </a:p>
          <a:p>
            <a:pPr marL="228594" indent="-228594">
              <a:spcAft>
                <a:spcPts val="600"/>
              </a:spcAft>
            </a:pPr>
            <a:r>
              <a:rPr lang="en-US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No parentheses () are </a:t>
            </a:r>
            <a:r>
              <a:rPr lang="en-US" sz="18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required, except</a:t>
            </a:r>
          </a:p>
          <a:p>
            <a:pPr marL="228594" indent="-228594">
              <a:spcAft>
                <a:spcPts val="600"/>
              </a:spcAft>
            </a:pPr>
            <a:r>
              <a:rPr lang="en-US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When if test or results have multiple conditions: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        (condition 1 and condition 2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        (condition 1 or condition 2)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        (condition 1 or (condition 2 and condition 3))</a:t>
            </a:r>
          </a:p>
          <a:p>
            <a:pPr>
              <a:spcAft>
                <a:spcPts val="600"/>
              </a:spcAft>
            </a:pPr>
            <a:r>
              <a:rPr lang="en-US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If multiple if’s are used ensure you have the same number of “if”, “then”, “else”</a:t>
            </a:r>
            <a:br>
              <a:rPr lang="en-US" sz="180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endParaRPr lang="en-US" sz="18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DC8EE4F-DEF2-4F44-8CD1-859F67072ECC}"/>
              </a:ext>
            </a:extLst>
          </p:cNvPr>
          <p:cNvSpPr txBox="1"/>
          <p:nvPr/>
        </p:nvSpPr>
        <p:spPr>
          <a:xfrm>
            <a:off x="6315454" y="2324940"/>
            <a:ext cx="5140149" cy="116955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Chained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 example </a:t>
            </a:r>
            <a:r>
              <a:rPr lang="en-US" sz="1400" dirty="0">
                <a:cs typeface="Segoe UI Light" panose="020B0502040204020203" pitchFamily="34" charset="0"/>
              </a:rPr>
              <a:t>(3 each of if, then &amp; else)</a:t>
            </a:r>
          </a:p>
          <a:p>
            <a:endParaRPr lang="en-US" sz="1400" dirty="0">
              <a:solidFill>
                <a:schemeClr val="accent2"/>
              </a:solidFill>
              <a:cs typeface="Segoe UI Light" panose="020B0502040204020203" pitchFamily="34" charset="0"/>
            </a:endParaRPr>
          </a:p>
          <a:p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=</a:t>
            </a:r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if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accent2"/>
                </a:solidFill>
                <a:cs typeface="Segoe UI Light" panose="020B0502040204020203" pitchFamily="34" charset="0"/>
              </a:rPr>
              <a:t>Text.EndsWith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([Column2],"Key") </a:t>
            </a:r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then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 [Column2] </a:t>
            </a:r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else</a:t>
            </a:r>
          </a:p>
          <a:p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if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 [Column2] = "</a:t>
            </a:r>
            <a:r>
              <a:rPr lang="en-US" sz="1400" dirty="0" err="1">
                <a:solidFill>
                  <a:schemeClr val="accent2"/>
                </a:solidFill>
                <a:cs typeface="Segoe UI Light" panose="020B0502040204020203" pitchFamily="34" charset="0"/>
              </a:rPr>
              <a:t>TotalCost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" </a:t>
            </a:r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then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 "Cost $" </a:t>
            </a:r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else</a:t>
            </a:r>
          </a:p>
          <a:p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if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 [Column2] = "</a:t>
            </a:r>
            <a:r>
              <a:rPr lang="en-US" sz="1400" dirty="0" err="1">
                <a:solidFill>
                  <a:schemeClr val="accent2"/>
                </a:solidFill>
                <a:cs typeface="Segoe UI Light" panose="020B0502040204020203" pitchFamily="34" charset="0"/>
              </a:rPr>
              <a:t>SalesQuantity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" </a:t>
            </a:r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then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 "Sales #" </a:t>
            </a:r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else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 null</a:t>
            </a:r>
            <a:endParaRPr lang="en-US" sz="2000" dirty="0">
              <a:solidFill>
                <a:schemeClr val="accent2"/>
              </a:solidFill>
              <a:cs typeface="Segoe UI Light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3A4CAFB-FF4F-4AE3-9B16-B88E15F7A576}"/>
              </a:ext>
            </a:extLst>
          </p:cNvPr>
          <p:cNvSpPr txBox="1"/>
          <p:nvPr/>
        </p:nvSpPr>
        <p:spPr>
          <a:xfrm>
            <a:off x="6315453" y="3691065"/>
            <a:ext cx="5140149" cy="138499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Nested 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example </a:t>
            </a:r>
            <a:r>
              <a:rPr lang="en-US" sz="1400" dirty="0">
                <a:cs typeface="Segoe UI Light" panose="020B0502040204020203" pitchFamily="34" charset="0"/>
              </a:rPr>
              <a:t>(3 each of if, then &amp; else)</a:t>
            </a:r>
          </a:p>
          <a:p>
            <a:endParaRPr lang="en-US" sz="1400" dirty="0">
              <a:solidFill>
                <a:schemeClr val="accent2"/>
              </a:solidFill>
              <a:cs typeface="Segoe UI Light" panose="020B0502040204020203" pitchFamily="34" charset="0"/>
            </a:endParaRPr>
          </a:p>
          <a:p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=</a:t>
            </a:r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if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accent2"/>
                </a:solidFill>
                <a:cs typeface="Segoe UI Light" panose="020B0502040204020203" pitchFamily="34" charset="0"/>
              </a:rPr>
              <a:t>Text.EndsWith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([Column2],"Key") </a:t>
            </a:r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then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 </a:t>
            </a:r>
          </a:p>
          <a:p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      if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 [Column2] = "</a:t>
            </a:r>
            <a:r>
              <a:rPr lang="en-US" sz="1400" dirty="0" err="1">
                <a:solidFill>
                  <a:schemeClr val="accent2"/>
                </a:solidFill>
                <a:cs typeface="Segoe UI Light" panose="020B0502040204020203" pitchFamily="34" charset="0"/>
              </a:rPr>
              <a:t>TotalCost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" </a:t>
            </a:r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then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 "Cost $" </a:t>
            </a:r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else</a:t>
            </a:r>
          </a:p>
          <a:p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      if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 [Column2] = "</a:t>
            </a:r>
            <a:r>
              <a:rPr lang="en-US" sz="1400" dirty="0" err="1">
                <a:solidFill>
                  <a:schemeClr val="accent2"/>
                </a:solidFill>
                <a:cs typeface="Segoe UI Light" panose="020B0502040204020203" pitchFamily="34" charset="0"/>
              </a:rPr>
              <a:t>SalesQuantity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" </a:t>
            </a:r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then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 "Sales #" </a:t>
            </a:r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else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 null </a:t>
            </a:r>
          </a:p>
          <a:p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   else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 “Item #"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EDC1A6-9C72-43A9-A2C2-F6509D0D94E0}"/>
              </a:ext>
            </a:extLst>
          </p:cNvPr>
          <p:cNvSpPr txBox="1"/>
          <p:nvPr/>
        </p:nvSpPr>
        <p:spPr>
          <a:xfrm>
            <a:off x="6315452" y="5272634"/>
            <a:ext cx="5140149" cy="116955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Multiple conditions 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example  </a:t>
            </a:r>
            <a:r>
              <a:rPr lang="en-US" sz="1400" dirty="0">
                <a:cs typeface="Segoe UI Light" panose="020B0502040204020203" pitchFamily="34" charset="0"/>
              </a:rPr>
              <a:t>(1 each of if, then &amp; else)</a:t>
            </a:r>
          </a:p>
          <a:p>
            <a:endParaRPr lang="en-US" sz="1400" dirty="0">
              <a:solidFill>
                <a:schemeClr val="accent2"/>
              </a:solidFill>
              <a:cs typeface="Segoe UI Light" panose="020B0502040204020203" pitchFamily="34" charset="0"/>
            </a:endParaRPr>
          </a:p>
          <a:p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=</a:t>
            </a:r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if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  </a:t>
            </a:r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(</a:t>
            </a:r>
            <a:r>
              <a:rPr lang="en-US" sz="1400" dirty="0" err="1">
                <a:solidFill>
                  <a:schemeClr val="accent2"/>
                </a:solidFill>
                <a:cs typeface="Segoe UI Light" panose="020B0502040204020203" pitchFamily="34" charset="0"/>
              </a:rPr>
              <a:t>Text.Length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([Column2]) = 3 or </a:t>
            </a:r>
            <a:r>
              <a:rPr lang="en-US" sz="1400" dirty="0" err="1">
                <a:solidFill>
                  <a:schemeClr val="accent2"/>
                </a:solidFill>
                <a:cs typeface="Segoe UI Light" panose="020B0502040204020203" pitchFamily="34" charset="0"/>
              </a:rPr>
              <a:t>Text.Length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([Column2]) = 2 </a:t>
            </a:r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)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 </a:t>
            </a:r>
          </a:p>
          <a:p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then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 </a:t>
            </a:r>
            <a:r>
              <a:rPr lang="en-US" sz="1400" b="1" dirty="0">
                <a:solidFill>
                  <a:schemeClr val="accent6"/>
                </a:solidFill>
                <a:cs typeface="Segoe UI Light" panose="020B0502040204020203" pitchFamily="34" charset="0"/>
              </a:rPr>
              <a:t> </a:t>
            </a:r>
            <a:r>
              <a:rPr lang="en-US" sz="1400" b="1" dirty="0">
                <a:solidFill>
                  <a:srgbClr val="505050"/>
                </a:solidFill>
                <a:cs typeface="Segoe UI Light" panose="020B0502040204020203" pitchFamily="34" charset="0"/>
              </a:rPr>
              <a:t>true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 </a:t>
            </a:r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else </a:t>
            </a:r>
            <a:r>
              <a:rPr lang="en-US" sz="1400" b="1" dirty="0">
                <a:solidFill>
                  <a:srgbClr val="505050"/>
                </a:solidFill>
                <a:cs typeface="Segoe UI Light" panose="020B0502040204020203" pitchFamily="34" charset="0"/>
              </a:rPr>
              <a:t>fals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3509A2E-D679-4890-9315-158318953BF6}"/>
              </a:ext>
            </a:extLst>
          </p:cNvPr>
          <p:cNvSpPr txBox="1"/>
          <p:nvPr/>
        </p:nvSpPr>
        <p:spPr>
          <a:xfrm>
            <a:off x="6315456" y="1389702"/>
            <a:ext cx="5140149" cy="73866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Simple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 example  </a:t>
            </a:r>
            <a:r>
              <a:rPr lang="en-US" sz="1400" dirty="0">
                <a:cs typeface="Segoe UI Light" panose="020B0502040204020203" pitchFamily="34" charset="0"/>
              </a:rPr>
              <a:t>(1 each of if, then &amp; else)</a:t>
            </a:r>
          </a:p>
          <a:p>
            <a:endParaRPr lang="en-US" sz="1400" dirty="0">
              <a:solidFill>
                <a:schemeClr val="accent2"/>
              </a:solidFill>
              <a:cs typeface="Segoe UI Light" panose="020B0502040204020203" pitchFamily="34" charset="0"/>
            </a:endParaRPr>
          </a:p>
          <a:p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=</a:t>
            </a:r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if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 [Column2] = "Key" </a:t>
            </a:r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then</a:t>
            </a:r>
            <a:r>
              <a:rPr lang="en-US" sz="1400" dirty="0">
                <a:solidFill>
                  <a:schemeClr val="accent2"/>
                </a:solidFill>
                <a:cs typeface="Segoe UI Light" panose="020B0502040204020203" pitchFamily="34" charset="0"/>
              </a:rPr>
              <a:t> [Column2] </a:t>
            </a:r>
            <a:r>
              <a:rPr lang="en-US" sz="1400" dirty="0">
                <a:solidFill>
                  <a:schemeClr val="accent6"/>
                </a:solidFill>
                <a:cs typeface="Segoe UI Light" panose="020B0502040204020203" pitchFamily="34" charset="0"/>
              </a:rPr>
              <a:t>else “Other”</a:t>
            </a:r>
            <a:endParaRPr lang="en-US" sz="2000" dirty="0">
              <a:solidFill>
                <a:schemeClr val="accent2"/>
              </a:solidFill>
              <a:cs typeface="Segoe UI Light" panose="020B050204020402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02CB4C0-1A57-4806-8EA9-3DB3FB0BB35F}"/>
              </a:ext>
            </a:extLst>
          </p:cNvPr>
          <p:cNvSpPr/>
          <p:nvPr/>
        </p:nvSpPr>
        <p:spPr bwMode="auto">
          <a:xfrm>
            <a:off x="77972" y="6606363"/>
            <a:ext cx="1906772" cy="2209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1557163"/>
      </p:ext>
    </p:extLst>
  </p:cSld>
  <p:clrMapOvr>
    <a:masterClrMapping/>
  </p:clrMapOvr>
  <p:transition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8FD1552-547E-4B28-BD38-00C58A597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615" y="424422"/>
            <a:ext cx="10339200" cy="708336"/>
          </a:xfrm>
        </p:spPr>
        <p:txBody>
          <a:bodyPr/>
          <a:lstStyle/>
          <a:p>
            <a:pPr marL="0" marR="0" lvl="0" indent="0" defTabSz="9142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kern="0" spc="0" dirty="0">
                <a:ln>
                  <a:noFill/>
                </a:ln>
                <a:latin typeface="Segoe UI" panose="020B0502040204020203" pitchFamily="34" charset="0"/>
              </a:rPr>
              <a:t>i</a:t>
            </a:r>
            <a:r>
              <a:rPr kumimoji="0" lang="en-US" sz="4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….then….else</a:t>
            </a:r>
          </a:p>
        </p:txBody>
      </p:sp>
      <p:sp>
        <p:nvSpPr>
          <p:cNvPr id="2" name="Subtitle 4">
            <a:extLst>
              <a:ext uri="{FF2B5EF4-FFF2-40B4-BE49-F238E27FC236}">
                <a16:creationId xmlns:a16="http://schemas.microsoft.com/office/drawing/2014/main" id="{3AD25680-7D79-4822-933A-9611236D6782}"/>
              </a:ext>
            </a:extLst>
          </p:cNvPr>
          <p:cNvSpPr txBox="1">
            <a:spLocks/>
          </p:cNvSpPr>
          <p:nvPr/>
        </p:nvSpPr>
        <p:spPr>
          <a:xfrm>
            <a:off x="580639" y="1391058"/>
            <a:ext cx="9741107" cy="3693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556" indent="-228556" algn="l" defTabSz="91422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668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781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893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005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118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30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41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53" indent="-228556" algn="l" defTabSz="91422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None/>
            </a:pPr>
            <a:r>
              <a:rPr lang="en-US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Like many other M functions, If…then…else can be created (or intuited) in several ways: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02CB4C0-1A57-4806-8EA9-3DB3FB0BB35F}"/>
              </a:ext>
            </a:extLst>
          </p:cNvPr>
          <p:cNvSpPr/>
          <p:nvPr/>
        </p:nvSpPr>
        <p:spPr bwMode="auto">
          <a:xfrm>
            <a:off x="77972" y="6606363"/>
            <a:ext cx="1906772" cy="2209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E1E4CE-82B2-8FF4-F3E1-8766DA66666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615" y="4398625"/>
            <a:ext cx="4428540" cy="236015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788FEF5-EC0D-0871-5D95-C285B1C85C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0397" y="2169431"/>
            <a:ext cx="4516976" cy="205805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33E4C3F-A324-5952-5606-658B6D69014D}"/>
              </a:ext>
            </a:extLst>
          </p:cNvPr>
          <p:cNvSpPr txBox="1"/>
          <p:nvPr/>
        </p:nvSpPr>
        <p:spPr>
          <a:xfrm>
            <a:off x="2863901" y="4398625"/>
            <a:ext cx="2030887" cy="369332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8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Custom Column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2BE648B-1977-7A44-D27E-09F5E0D6F92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3557" t="23578"/>
          <a:stretch/>
        </p:blipFill>
        <p:spPr>
          <a:xfrm>
            <a:off x="5451192" y="2259976"/>
            <a:ext cx="6514027" cy="316836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C2B8B81-9EC4-C604-0386-6494B2B0B12A}"/>
              </a:ext>
            </a:extLst>
          </p:cNvPr>
          <p:cNvSpPr txBox="1"/>
          <p:nvPr/>
        </p:nvSpPr>
        <p:spPr>
          <a:xfrm>
            <a:off x="2863901" y="2137528"/>
            <a:ext cx="2269254" cy="369332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8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Conditional Colum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CBAB6AB-6096-5FD9-2612-B2C5238498E3}"/>
              </a:ext>
            </a:extLst>
          </p:cNvPr>
          <p:cNvSpPr txBox="1"/>
          <p:nvPr/>
        </p:nvSpPr>
        <p:spPr>
          <a:xfrm>
            <a:off x="8532918" y="2274301"/>
            <a:ext cx="2810173" cy="369332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8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Column From Examples</a:t>
            </a:r>
            <a:endParaRPr lang="en-US" sz="18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4684611"/>
      </p:ext>
    </p:extLst>
  </p:cSld>
  <p:clrMapOvr>
    <a:masterClrMapping/>
  </p:clrMapOvr>
  <p:transition>
    <p:fad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6566A0-9C80-E89C-14C8-4C39C185E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1966" y="2199091"/>
            <a:ext cx="4548068" cy="609398"/>
          </a:xfrm>
        </p:spPr>
        <p:txBody>
          <a:bodyPr/>
          <a:lstStyle/>
          <a:p>
            <a:r>
              <a:rPr lang="en-US" sz="4400" cap="none" dirty="0">
                <a:latin typeface="Segoe UI Semibold" panose="020B0702040204020203" pitchFamily="34" charset="0"/>
              </a:rPr>
              <a:t>Module 3 Lab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47C03D-4EE7-5C3E-845B-DBDED40F8D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21966" y="3429000"/>
            <a:ext cx="4548068" cy="738664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400" dirty="0">
                <a:ea typeface="ＭＳ Ｐゴシック"/>
                <a:cs typeface="Segoe UI"/>
              </a:rPr>
              <a:t>Create relationships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400" dirty="0">
                <a:ea typeface="ＭＳ Ｐゴシック"/>
                <a:cs typeface="Segoe UI"/>
              </a:rPr>
              <a:t>between tables</a:t>
            </a:r>
            <a:endParaRPr lang="en-US" sz="240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32B3B18-CA76-BE76-AFCE-465201C6BCE8}"/>
              </a:ext>
            </a:extLst>
          </p:cNvPr>
          <p:cNvGrpSpPr/>
          <p:nvPr/>
        </p:nvGrpSpPr>
        <p:grpSpPr>
          <a:xfrm>
            <a:off x="3825115" y="516429"/>
            <a:ext cx="4548068" cy="1062152"/>
            <a:chOff x="3825115" y="516429"/>
            <a:chExt cx="4548068" cy="1062152"/>
          </a:xfrm>
        </p:grpSpPr>
        <p:sp>
          <p:nvSpPr>
            <p:cNvPr id="4" name="Text Placeholder 1">
              <a:extLst>
                <a:ext uri="{FF2B5EF4-FFF2-40B4-BE49-F238E27FC236}">
                  <a16:creationId xmlns:a16="http://schemas.microsoft.com/office/drawing/2014/main" id="{F4539750-96A4-88EE-715A-7B20B75D2B4D}"/>
                </a:ext>
              </a:extLst>
            </p:cNvPr>
            <p:cNvSpPr txBox="1">
              <a:spLocks/>
            </p:cNvSpPr>
            <p:nvPr/>
          </p:nvSpPr>
          <p:spPr>
            <a:xfrm>
              <a:off x="4709287" y="516429"/>
              <a:ext cx="1570601" cy="498598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2400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5" name="Title 3">
              <a:extLst>
                <a:ext uri="{FF2B5EF4-FFF2-40B4-BE49-F238E27FC236}">
                  <a16:creationId xmlns:a16="http://schemas.microsoft.com/office/drawing/2014/main" id="{0CD3071C-EF9A-160C-193E-CD22B9307112}"/>
                </a:ext>
              </a:extLst>
            </p:cNvPr>
            <p:cNvSpPr txBox="1">
              <a:spLocks/>
            </p:cNvSpPr>
            <p:nvPr/>
          </p:nvSpPr>
          <p:spPr>
            <a:xfrm>
              <a:off x="4444791" y="1015027"/>
              <a:ext cx="3928392" cy="4985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cap="none" dirty="0">
                  <a:solidFill>
                    <a:srgbClr val="FED112"/>
                  </a:solidFill>
                </a:rPr>
                <a:t>Power BI </a:t>
              </a:r>
              <a:r>
                <a:rPr lang="en-US" sz="2800" cap="none" dirty="0">
                  <a:solidFill>
                    <a:schemeClr val="tx1"/>
                  </a:solidFill>
                </a:rPr>
                <a:t>Training</a:t>
              </a:r>
              <a:endParaRPr lang="en-US" sz="2800" dirty="0">
                <a:solidFill>
                  <a:schemeClr val="tx1"/>
                </a:solidFill>
              </a:endParaRPr>
            </a:p>
          </p:txBody>
        </p:sp>
        <p:pic>
          <p:nvPicPr>
            <p:cNvPr id="6" name="Picture 5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F1C8179E-833E-6A63-9CD8-006084751C6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25115" y="950072"/>
              <a:ext cx="943368" cy="6285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31107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6566A0-9C80-E89C-14C8-4C39C185E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1966" y="2233641"/>
            <a:ext cx="4548068" cy="609398"/>
          </a:xfrm>
        </p:spPr>
        <p:txBody>
          <a:bodyPr/>
          <a:lstStyle/>
          <a:p>
            <a:r>
              <a:rPr lang="en-US" sz="4400" cap="none" dirty="0">
                <a:latin typeface="Segoe UI Semibold" panose="020B0702040204020203" pitchFamily="34" charset="0"/>
              </a:rPr>
              <a:t>M Language</a:t>
            </a:r>
            <a:endParaRPr lang="en-US" sz="4400" cap="non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47C03D-4EE7-5C3E-845B-DBDED40F8D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25115" y="3341637"/>
            <a:ext cx="4548068" cy="1354217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4400" dirty="0"/>
              <a:t>Knowledge Check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4400" dirty="0"/>
              <a:t>Module 3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32B3B18-CA76-BE76-AFCE-465201C6BCE8}"/>
              </a:ext>
            </a:extLst>
          </p:cNvPr>
          <p:cNvGrpSpPr/>
          <p:nvPr/>
        </p:nvGrpSpPr>
        <p:grpSpPr>
          <a:xfrm>
            <a:off x="3825115" y="516429"/>
            <a:ext cx="4548068" cy="1062152"/>
            <a:chOff x="3825115" y="516429"/>
            <a:chExt cx="4548068" cy="1062152"/>
          </a:xfrm>
        </p:grpSpPr>
        <p:sp>
          <p:nvSpPr>
            <p:cNvPr id="4" name="Text Placeholder 1">
              <a:extLst>
                <a:ext uri="{FF2B5EF4-FFF2-40B4-BE49-F238E27FC236}">
                  <a16:creationId xmlns:a16="http://schemas.microsoft.com/office/drawing/2014/main" id="{F4539750-96A4-88EE-715A-7B20B75D2B4D}"/>
                </a:ext>
              </a:extLst>
            </p:cNvPr>
            <p:cNvSpPr txBox="1">
              <a:spLocks/>
            </p:cNvSpPr>
            <p:nvPr/>
          </p:nvSpPr>
          <p:spPr>
            <a:xfrm>
              <a:off x="4709287" y="516429"/>
              <a:ext cx="1570601" cy="498598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2400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5" name="Title 3">
              <a:extLst>
                <a:ext uri="{FF2B5EF4-FFF2-40B4-BE49-F238E27FC236}">
                  <a16:creationId xmlns:a16="http://schemas.microsoft.com/office/drawing/2014/main" id="{0CD3071C-EF9A-160C-193E-CD22B9307112}"/>
                </a:ext>
              </a:extLst>
            </p:cNvPr>
            <p:cNvSpPr txBox="1">
              <a:spLocks/>
            </p:cNvSpPr>
            <p:nvPr/>
          </p:nvSpPr>
          <p:spPr>
            <a:xfrm>
              <a:off x="4444791" y="1015027"/>
              <a:ext cx="3928392" cy="4985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cap="none" dirty="0">
                  <a:solidFill>
                    <a:srgbClr val="FED112"/>
                  </a:solidFill>
                </a:rPr>
                <a:t>Power BI </a:t>
              </a:r>
              <a:r>
                <a:rPr lang="en-US" sz="2800" cap="none" dirty="0">
                  <a:solidFill>
                    <a:schemeClr val="tx1"/>
                  </a:solidFill>
                </a:rPr>
                <a:t>Training</a:t>
              </a:r>
              <a:endParaRPr lang="en-US" sz="2800" dirty="0">
                <a:solidFill>
                  <a:schemeClr val="tx1"/>
                </a:solidFill>
              </a:endParaRPr>
            </a:p>
          </p:txBody>
        </p:sp>
        <p:pic>
          <p:nvPicPr>
            <p:cNvPr id="6" name="Picture 5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F1C8179E-833E-6A63-9CD8-006084751C6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25115" y="950072"/>
              <a:ext cx="943368" cy="6285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7155119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3351E94-1FD5-4EB2-B357-4F46A556E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dule 3 Knowledge Check Question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401DFB4-7272-46C2-B573-94625E879FE5}"/>
              </a:ext>
            </a:extLst>
          </p:cNvPr>
          <p:cNvSpPr/>
          <p:nvPr/>
        </p:nvSpPr>
        <p:spPr>
          <a:xfrm>
            <a:off x="916754" y="1276551"/>
            <a:ext cx="9510606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fontAlgn="auto">
              <a:spcBef>
                <a:spcPts val="1200"/>
              </a:spcBef>
              <a:buClrTx/>
              <a:buSzTx/>
              <a:buFont typeface="+mj-lt"/>
              <a:buAutoNum type="arabicPeriod"/>
              <a:tabLst/>
              <a:defRPr/>
            </a:pPr>
            <a:r>
              <a:rPr lang="en-US" sz="2000" b="1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hat is M used for?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ransform data to optimize it in a data model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o build queries that mashup data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o separate facts and dimensions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ll of the above</a:t>
            </a:r>
          </a:p>
          <a:p>
            <a:pPr marL="457200" marR="0" lvl="0" indent="-457200" fontAlgn="auto">
              <a:spcBef>
                <a:spcPts val="1200"/>
              </a:spcBef>
              <a:buClrTx/>
              <a:buSzTx/>
              <a:buFont typeface="+mj-lt"/>
              <a:buAutoNum type="arabicPeriod"/>
              <a:tabLst/>
              <a:defRPr/>
            </a:pPr>
            <a:r>
              <a:rPr lang="en-US" sz="2000" b="0" i="0" dirty="0">
                <a:solidFill>
                  <a:srgbClr val="000000"/>
                </a:solidFill>
                <a:effectLst/>
              </a:rPr>
              <a:t>Which way can you NOT use M</a:t>
            </a:r>
            <a:r>
              <a:rPr lang="en-US" sz="2000" b="1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?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US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rite custom code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US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ing the ribbon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reate measures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ll of the above</a:t>
            </a:r>
          </a:p>
          <a:p>
            <a:pPr marL="457200" marR="0" lvl="0" indent="-457200" fontAlgn="auto">
              <a:spcBef>
                <a:spcPts val="1200"/>
              </a:spcBef>
              <a:buClrTx/>
              <a:buSzTx/>
              <a:buFont typeface="+mj-lt"/>
              <a:buAutoNum type="arabicPeriod"/>
              <a:tabLst/>
              <a:defRPr/>
            </a:pPr>
            <a:r>
              <a:rPr lang="en-US" sz="2000" b="1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s DAX case sensitive?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Yes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No</a:t>
            </a:r>
          </a:p>
        </p:txBody>
      </p:sp>
    </p:spTree>
    <p:extLst>
      <p:ext uri="{BB962C8B-B14F-4D97-AF65-F5344CB8AC3E}">
        <p14:creationId xmlns:p14="http://schemas.microsoft.com/office/powerpoint/2010/main" val="4120795887"/>
      </p:ext>
    </p:extLst>
  </p:cSld>
  <p:clrMapOvr>
    <a:masterClrMapping/>
  </p:clrMapOvr>
  <p:transition>
    <p:fade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3351E94-1FD5-4EB2-B357-4F46A556E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dule 3 Knowledge Check Question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401DFB4-7272-46C2-B573-94625E879FE5}"/>
              </a:ext>
            </a:extLst>
          </p:cNvPr>
          <p:cNvSpPr/>
          <p:nvPr/>
        </p:nvSpPr>
        <p:spPr>
          <a:xfrm>
            <a:off x="916754" y="1276551"/>
            <a:ext cx="9510606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fontAlgn="auto">
              <a:spcBef>
                <a:spcPts val="1200"/>
              </a:spcBef>
              <a:buClrTx/>
              <a:buSzTx/>
              <a:buFont typeface="+mj-lt"/>
              <a:buAutoNum type="arabicPeriod" startAt="4"/>
              <a:tabLst/>
              <a:defRPr/>
            </a:pPr>
            <a:r>
              <a:rPr lang="en-US" sz="2000" b="1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s M case sensitive?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Yes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No</a:t>
            </a:r>
          </a:p>
          <a:p>
            <a:pPr marL="457200" marR="0" lvl="0" indent="-457200" fontAlgn="auto">
              <a:spcBef>
                <a:spcPts val="1200"/>
              </a:spcBef>
              <a:buClrTx/>
              <a:buSzTx/>
              <a:buFont typeface="+mj-lt"/>
              <a:buAutoNum type="arabicPeriod" startAt="4"/>
              <a:tabLst/>
              <a:defRPr/>
            </a:pPr>
            <a:r>
              <a:rPr lang="en-US" sz="2000" b="1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re if then else statements used in M?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Yes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No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nly in DAX </a:t>
            </a:r>
          </a:p>
          <a:p>
            <a:pPr marL="457200" marR="0" lvl="0" indent="-457200" fontAlgn="auto">
              <a:spcBef>
                <a:spcPts val="1200"/>
              </a:spcBef>
              <a:buClrTx/>
              <a:buSzTx/>
              <a:buFont typeface="+mj-lt"/>
              <a:buAutoNum type="arabicPeriod" startAt="4"/>
              <a:tabLst/>
              <a:defRPr/>
            </a:pPr>
            <a:r>
              <a:rPr lang="en-US" sz="2000" b="1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an M script be replaced by automated functions?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Yes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No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nly when combined with DAX</a:t>
            </a:r>
          </a:p>
        </p:txBody>
      </p:sp>
    </p:spTree>
    <p:extLst>
      <p:ext uri="{BB962C8B-B14F-4D97-AF65-F5344CB8AC3E}">
        <p14:creationId xmlns:p14="http://schemas.microsoft.com/office/powerpoint/2010/main" val="680601091"/>
      </p:ext>
    </p:extLst>
  </p:cSld>
  <p:clrMapOvr>
    <a:masterClrMapping/>
  </p:clrMapOvr>
  <p:transition>
    <p:fade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6566A0-9C80-E89C-14C8-4C39C185E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1966" y="2186296"/>
            <a:ext cx="4548067" cy="498598"/>
          </a:xfrm>
        </p:spPr>
        <p:txBody>
          <a:bodyPr/>
          <a:lstStyle/>
          <a:p>
            <a:r>
              <a:rPr lang="en-US" cap="none" dirty="0">
                <a:latin typeface="+mn-lt"/>
              </a:rPr>
              <a:t>Module 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47C03D-4EE7-5C3E-845B-DBDED40F8D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25115" y="3089750"/>
            <a:ext cx="4548068" cy="808683"/>
          </a:xfrm>
        </p:spPr>
        <p:txBody>
          <a:bodyPr/>
          <a:lstStyle/>
          <a:p>
            <a:r>
              <a:rPr lang="en-US" sz="4000" dirty="0"/>
              <a:t>Logic Operator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364D75B-1B87-5687-157F-0CA8F48133D7}"/>
              </a:ext>
            </a:extLst>
          </p:cNvPr>
          <p:cNvGrpSpPr/>
          <p:nvPr/>
        </p:nvGrpSpPr>
        <p:grpSpPr>
          <a:xfrm>
            <a:off x="3825115" y="516429"/>
            <a:ext cx="4548068" cy="1062152"/>
            <a:chOff x="3825115" y="516429"/>
            <a:chExt cx="4548068" cy="1062152"/>
          </a:xfrm>
        </p:grpSpPr>
        <p:sp>
          <p:nvSpPr>
            <p:cNvPr id="8" name="Text Placeholder 1">
              <a:extLst>
                <a:ext uri="{FF2B5EF4-FFF2-40B4-BE49-F238E27FC236}">
                  <a16:creationId xmlns:a16="http://schemas.microsoft.com/office/drawing/2014/main" id="{10836EA4-047D-5360-6970-88848D530EB3}"/>
                </a:ext>
              </a:extLst>
            </p:cNvPr>
            <p:cNvSpPr txBox="1">
              <a:spLocks/>
            </p:cNvSpPr>
            <p:nvPr/>
          </p:nvSpPr>
          <p:spPr>
            <a:xfrm>
              <a:off x="4709287" y="516429"/>
              <a:ext cx="1570601" cy="498598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2400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9" name="Title 3">
              <a:extLst>
                <a:ext uri="{FF2B5EF4-FFF2-40B4-BE49-F238E27FC236}">
                  <a16:creationId xmlns:a16="http://schemas.microsoft.com/office/drawing/2014/main" id="{56BFF73F-5A37-4BC8-019F-6A8097A74AAC}"/>
                </a:ext>
              </a:extLst>
            </p:cNvPr>
            <p:cNvSpPr txBox="1">
              <a:spLocks/>
            </p:cNvSpPr>
            <p:nvPr/>
          </p:nvSpPr>
          <p:spPr>
            <a:xfrm>
              <a:off x="4444791" y="1015027"/>
              <a:ext cx="3928392" cy="4985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cap="none" dirty="0">
                  <a:solidFill>
                    <a:srgbClr val="FED112"/>
                  </a:solidFill>
                </a:rPr>
                <a:t>Power BI </a:t>
              </a:r>
              <a:r>
                <a:rPr lang="en-US" sz="2800" cap="none" dirty="0">
                  <a:solidFill>
                    <a:schemeClr val="tx1"/>
                  </a:solidFill>
                </a:rPr>
                <a:t>Training</a:t>
              </a:r>
              <a:endParaRPr lang="en-US" sz="2800" dirty="0">
                <a:solidFill>
                  <a:schemeClr val="tx1"/>
                </a:solidFill>
              </a:endParaRPr>
            </a:p>
          </p:txBody>
        </p:sp>
        <p:pic>
          <p:nvPicPr>
            <p:cNvPr id="10" name="Picture 9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549E3E53-7AF6-0DBC-4FD2-D632774E34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25115" y="950072"/>
              <a:ext cx="943368" cy="6285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764932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84B9BB-19A0-BE5C-F1E3-A311076B7E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210" y="1738392"/>
            <a:ext cx="5112940" cy="412454"/>
          </a:xfrm>
        </p:spPr>
        <p:txBody>
          <a:bodyPr/>
          <a:lstStyle/>
          <a:p>
            <a:r>
              <a:rPr lang="en-US" sz="4000" cap="none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Module 4 Objectives</a:t>
            </a:r>
            <a:endParaRPr lang="en-US" sz="3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9993C53-22D6-F442-B069-E417B6BA826F}"/>
              </a:ext>
            </a:extLst>
          </p:cNvPr>
          <p:cNvSpPr/>
          <p:nvPr/>
        </p:nvSpPr>
        <p:spPr>
          <a:xfrm>
            <a:off x="3813630" y="2516489"/>
            <a:ext cx="6922235" cy="359381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rstand Key M Transformations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rstand Join operation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28E01DB-A835-CC34-5A9B-114EF904B7E0}"/>
              </a:ext>
            </a:extLst>
          </p:cNvPr>
          <p:cNvSpPr txBox="1"/>
          <p:nvPr/>
        </p:nvSpPr>
        <p:spPr>
          <a:xfrm>
            <a:off x="34671" y="156722"/>
            <a:ext cx="344911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cap="none" dirty="0">
                <a:solidFill>
                  <a:schemeClr val="bg1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Logic Operators</a:t>
            </a:r>
            <a:endParaRPr lang="en-US" sz="3600" dirty="0">
              <a:solidFill>
                <a:schemeClr val="bg1"/>
              </a:solidFill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B2BF0C8-4CF7-E2BC-6FC7-47DADCA6A0E0}"/>
              </a:ext>
            </a:extLst>
          </p:cNvPr>
          <p:cNvGrpSpPr/>
          <p:nvPr/>
        </p:nvGrpSpPr>
        <p:grpSpPr>
          <a:xfrm>
            <a:off x="10575427" y="130569"/>
            <a:ext cx="1581902" cy="904072"/>
            <a:chOff x="363368" y="-30356"/>
            <a:chExt cx="1581902" cy="904072"/>
          </a:xfrm>
        </p:grpSpPr>
        <p:sp>
          <p:nvSpPr>
            <p:cNvPr id="14" name="Text Placeholder 1">
              <a:extLst>
                <a:ext uri="{FF2B5EF4-FFF2-40B4-BE49-F238E27FC236}">
                  <a16:creationId xmlns:a16="http://schemas.microsoft.com/office/drawing/2014/main" id="{2B72BDF7-0754-1DD5-D1E2-F947303BD4EC}"/>
                </a:ext>
              </a:extLst>
            </p:cNvPr>
            <p:cNvSpPr txBox="1">
              <a:spLocks/>
            </p:cNvSpPr>
            <p:nvPr/>
          </p:nvSpPr>
          <p:spPr>
            <a:xfrm>
              <a:off x="439156" y="-30356"/>
              <a:ext cx="1071837" cy="318962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15" name="Title 3">
              <a:extLst>
                <a:ext uri="{FF2B5EF4-FFF2-40B4-BE49-F238E27FC236}">
                  <a16:creationId xmlns:a16="http://schemas.microsoft.com/office/drawing/2014/main" id="{BDF407BC-2A45-AD86-A244-3912BDEAFA0D}"/>
                </a:ext>
              </a:extLst>
            </p:cNvPr>
            <p:cNvSpPr txBox="1">
              <a:spLocks/>
            </p:cNvSpPr>
            <p:nvPr/>
          </p:nvSpPr>
          <p:spPr>
            <a:xfrm>
              <a:off x="569537" y="318963"/>
              <a:ext cx="1375733" cy="24929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sz="1800" cap="none" dirty="0">
                  <a:solidFill>
                    <a:srgbClr val="FED112"/>
                  </a:solidFill>
                </a:rPr>
                <a:t>Power BI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16" name="Picture 15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B23D77F0-B3F9-F586-8106-36CFE2ECE86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368" y="323903"/>
              <a:ext cx="412338" cy="274716"/>
            </a:xfrm>
            <a:prstGeom prst="rect">
              <a:avLst/>
            </a:prstGeom>
          </p:spPr>
        </p:pic>
        <p:sp>
          <p:nvSpPr>
            <p:cNvPr id="17" name="Text Placeholder 1">
              <a:extLst>
                <a:ext uri="{FF2B5EF4-FFF2-40B4-BE49-F238E27FC236}">
                  <a16:creationId xmlns:a16="http://schemas.microsoft.com/office/drawing/2014/main" id="{37F06975-C7F6-669F-F926-67336F89042C}"/>
                </a:ext>
              </a:extLst>
            </p:cNvPr>
            <p:cNvSpPr txBox="1">
              <a:spLocks/>
            </p:cNvSpPr>
            <p:nvPr/>
          </p:nvSpPr>
          <p:spPr>
            <a:xfrm>
              <a:off x="793705" y="461261"/>
              <a:ext cx="1151565" cy="412455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8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Segoe UI Semibold" panose="020B0702040204020203" pitchFamily="34" charset="0"/>
                </a:rPr>
                <a:t>Train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678852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84B9BB-19A0-BE5C-F1E3-A311076B7E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9530" y="1669812"/>
            <a:ext cx="5112940" cy="412454"/>
          </a:xfrm>
        </p:spPr>
        <p:txBody>
          <a:bodyPr/>
          <a:lstStyle/>
          <a:p>
            <a:r>
              <a:rPr lang="en-US" sz="4000" cap="none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Module 1 Objectives</a:t>
            </a:r>
            <a:endParaRPr lang="en-US" sz="3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9993C53-22D6-F442-B069-E417B6BA826F}"/>
              </a:ext>
            </a:extLst>
          </p:cNvPr>
          <p:cNvSpPr/>
          <p:nvPr/>
        </p:nvSpPr>
        <p:spPr>
          <a:xfrm>
            <a:off x="3093720" y="2516489"/>
            <a:ext cx="8572500" cy="359381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rstand what is meant by data model in the context of Power BI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rstand the consequences of data model design decision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rstand consequences of Power BI’s data type handling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rstand data connection option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28E01DB-A835-CC34-5A9B-114EF904B7E0}"/>
              </a:ext>
            </a:extLst>
          </p:cNvPr>
          <p:cNvSpPr txBox="1"/>
          <p:nvPr/>
        </p:nvSpPr>
        <p:spPr>
          <a:xfrm>
            <a:off x="259080" y="274619"/>
            <a:ext cx="308112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cap="none" dirty="0">
                <a:solidFill>
                  <a:schemeClr val="bg1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Get &amp; Shape</a:t>
            </a:r>
          </a:p>
          <a:p>
            <a:r>
              <a:rPr lang="en-US" sz="3600" cap="none" dirty="0">
                <a:solidFill>
                  <a:schemeClr val="bg1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Data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B2BF0C8-4CF7-E2BC-6FC7-47DADCA6A0E0}"/>
              </a:ext>
            </a:extLst>
          </p:cNvPr>
          <p:cNvGrpSpPr/>
          <p:nvPr/>
        </p:nvGrpSpPr>
        <p:grpSpPr>
          <a:xfrm>
            <a:off x="10575427" y="130569"/>
            <a:ext cx="1581902" cy="904072"/>
            <a:chOff x="363368" y="-30356"/>
            <a:chExt cx="1581902" cy="904072"/>
          </a:xfrm>
        </p:grpSpPr>
        <p:sp>
          <p:nvSpPr>
            <p:cNvPr id="14" name="Text Placeholder 1">
              <a:extLst>
                <a:ext uri="{FF2B5EF4-FFF2-40B4-BE49-F238E27FC236}">
                  <a16:creationId xmlns:a16="http://schemas.microsoft.com/office/drawing/2014/main" id="{2B72BDF7-0754-1DD5-D1E2-F947303BD4EC}"/>
                </a:ext>
              </a:extLst>
            </p:cNvPr>
            <p:cNvSpPr txBox="1">
              <a:spLocks/>
            </p:cNvSpPr>
            <p:nvPr/>
          </p:nvSpPr>
          <p:spPr>
            <a:xfrm>
              <a:off x="439156" y="-30356"/>
              <a:ext cx="1071837" cy="318962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15" name="Title 3">
              <a:extLst>
                <a:ext uri="{FF2B5EF4-FFF2-40B4-BE49-F238E27FC236}">
                  <a16:creationId xmlns:a16="http://schemas.microsoft.com/office/drawing/2014/main" id="{BDF407BC-2A45-AD86-A244-3912BDEAFA0D}"/>
                </a:ext>
              </a:extLst>
            </p:cNvPr>
            <p:cNvSpPr txBox="1">
              <a:spLocks/>
            </p:cNvSpPr>
            <p:nvPr/>
          </p:nvSpPr>
          <p:spPr>
            <a:xfrm>
              <a:off x="569537" y="318963"/>
              <a:ext cx="1375733" cy="24929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sz="1800" cap="none" dirty="0">
                  <a:solidFill>
                    <a:srgbClr val="FED112"/>
                  </a:solidFill>
                </a:rPr>
                <a:t>Power BI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16" name="Picture 15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B23D77F0-B3F9-F586-8106-36CFE2ECE86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368" y="323903"/>
              <a:ext cx="412338" cy="274716"/>
            </a:xfrm>
            <a:prstGeom prst="rect">
              <a:avLst/>
            </a:prstGeom>
          </p:spPr>
        </p:pic>
        <p:sp>
          <p:nvSpPr>
            <p:cNvPr id="17" name="Text Placeholder 1">
              <a:extLst>
                <a:ext uri="{FF2B5EF4-FFF2-40B4-BE49-F238E27FC236}">
                  <a16:creationId xmlns:a16="http://schemas.microsoft.com/office/drawing/2014/main" id="{37F06975-C7F6-669F-F926-67336F89042C}"/>
                </a:ext>
              </a:extLst>
            </p:cNvPr>
            <p:cNvSpPr txBox="1">
              <a:spLocks/>
            </p:cNvSpPr>
            <p:nvPr/>
          </p:nvSpPr>
          <p:spPr>
            <a:xfrm>
              <a:off x="793705" y="461261"/>
              <a:ext cx="1151565" cy="412455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8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Segoe UI Semibold" panose="020B0702040204020203" pitchFamily="34" charset="0"/>
                </a:rPr>
                <a:t>Train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701324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458E576-B67F-4034-BCF1-E64DF4558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5631" y="505401"/>
            <a:ext cx="10340737" cy="414000"/>
          </a:xfrm>
        </p:spPr>
        <p:txBody>
          <a:bodyPr/>
          <a:lstStyle/>
          <a:p>
            <a:r>
              <a:rPr lang="en-US" sz="2800" kern="0" cap="none" spc="0" baseline="0" dirty="0">
                <a:ln>
                  <a:noFill/>
                </a:ln>
                <a:latin typeface="Segoe UI" panose="020B0502040204020203" pitchFamily="34" charset="0"/>
              </a:rPr>
              <a:t>Key Transformations</a:t>
            </a:r>
            <a:endParaRPr lang="en-US" sz="2800" cap="none" baseline="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297457-0634-4D4E-96FA-577DF9E41F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60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21F59DC-52F6-4CB9-8D9B-5C6DCFB39A55}"/>
              </a:ext>
            </a:extLst>
          </p:cNvPr>
          <p:cNvSpPr txBox="1"/>
          <p:nvPr/>
        </p:nvSpPr>
        <p:spPr>
          <a:xfrm>
            <a:off x="828376" y="1405569"/>
            <a:ext cx="3239032" cy="3834896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1800"/>
              </a:spcAft>
            </a:pPr>
            <a:r>
              <a:rPr lang="en-US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M is the </a:t>
            </a:r>
            <a:r>
              <a:rPr lang="en-US" sz="20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key</a:t>
            </a:r>
            <a:r>
              <a:rPr lang="en-US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to data transformation in Power BI</a:t>
            </a: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>
              <a:lnSpc>
                <a:spcPct val="90000"/>
              </a:lnSpc>
              <a:spcAft>
                <a:spcPts val="1800"/>
              </a:spcAft>
            </a:pPr>
            <a:r>
              <a:rPr lang="en-US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Many transforms are just a click away on the </a:t>
            </a:r>
            <a:r>
              <a:rPr lang="en-US" sz="20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Ribbons</a:t>
            </a:r>
          </a:p>
          <a:p>
            <a:pPr>
              <a:lnSpc>
                <a:spcPct val="90000"/>
              </a:lnSpc>
              <a:spcAft>
                <a:spcPts val="1800"/>
              </a:spcAft>
            </a:pPr>
            <a:r>
              <a:rPr lang="en-US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View full syntax in </a:t>
            </a:r>
            <a:r>
              <a:rPr lang="en-US" sz="20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Advanced Editor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M is Column Based</a:t>
            </a: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Many Transformations occur by adding column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692FAA7-4236-4650-A5D9-A94514E22CBE}"/>
              </a:ext>
            </a:extLst>
          </p:cNvPr>
          <p:cNvSpPr txBox="1"/>
          <p:nvPr/>
        </p:nvSpPr>
        <p:spPr>
          <a:xfrm>
            <a:off x="1130771" y="6200158"/>
            <a:ext cx="3273775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solidFill>
                  <a:srgbClr val="C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 is </a:t>
            </a:r>
            <a:r>
              <a:rPr lang="en-US" sz="2000" b="1" dirty="0" err="1">
                <a:solidFill>
                  <a:srgbClr val="C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aSe</a:t>
            </a:r>
            <a:r>
              <a:rPr lang="en-US" sz="2000" b="1" dirty="0">
                <a:solidFill>
                  <a:srgbClr val="C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2000" b="1" dirty="0" err="1">
                <a:solidFill>
                  <a:srgbClr val="C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eNsItIvE</a:t>
            </a:r>
            <a:r>
              <a:rPr lang="en-US" sz="2000" b="1" dirty="0">
                <a:solidFill>
                  <a:srgbClr val="C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!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AF87E8F-7F0E-46A4-8F73-6ABEDE8448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2241" y="1421885"/>
            <a:ext cx="7766292" cy="72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2AE9031-E1FA-4193-9897-76E08BE851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32239" y="2603017"/>
            <a:ext cx="7810176" cy="720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84476E6-2BC1-4940-9132-BA7F6EBAB4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32239" y="3761981"/>
            <a:ext cx="5503681" cy="756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648C2D3-595C-41F2-8F3D-A4C7B61897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32239" y="5011457"/>
            <a:ext cx="3955770" cy="84766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B80AE85-692E-4116-802B-12C3D1B55051}"/>
              </a:ext>
            </a:extLst>
          </p:cNvPr>
          <p:cNvCxnSpPr>
            <a:cxnSpLocks/>
          </p:cNvCxnSpPr>
          <p:nvPr/>
        </p:nvCxnSpPr>
        <p:spPr>
          <a:xfrm>
            <a:off x="4199824" y="1029088"/>
            <a:ext cx="0" cy="5323511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331934"/>
      </p:ext>
    </p:extLst>
  </p:cSld>
  <p:clrMapOvr>
    <a:masterClrMapping/>
  </p:clrMapOvr>
  <p:transition>
    <p:fade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8FD1552-547E-4B28-BD38-00C58A597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563" y="509285"/>
            <a:ext cx="10339200" cy="412454"/>
          </a:xfrm>
        </p:spPr>
        <p:txBody>
          <a:bodyPr/>
          <a:lstStyle/>
          <a:p>
            <a:pPr marL="0" marR="0" lvl="0" indent="0" defTabSz="9142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kern="0" cap="none" spc="0" baseline="0" dirty="0">
                <a:ln>
                  <a:noFill/>
                </a:ln>
                <a:latin typeface="Segoe UI" panose="020B0502040204020203" pitchFamily="34" charset="0"/>
              </a:rPr>
              <a:t>Key Transformations</a:t>
            </a:r>
            <a:endParaRPr kumimoji="0" lang="en-US" sz="3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0F9D2C2-11BB-4779-8044-3B6E0AB36A7A}"/>
              </a:ext>
            </a:extLst>
          </p:cNvPr>
          <p:cNvSpPr/>
          <p:nvPr/>
        </p:nvSpPr>
        <p:spPr bwMode="auto">
          <a:xfrm>
            <a:off x="426319" y="1388567"/>
            <a:ext cx="3622309" cy="4720313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BB7020A-AC19-4097-A7A7-2350C7B2717D}"/>
              </a:ext>
            </a:extLst>
          </p:cNvPr>
          <p:cNvSpPr/>
          <p:nvPr/>
        </p:nvSpPr>
        <p:spPr bwMode="auto">
          <a:xfrm>
            <a:off x="4188191" y="1388567"/>
            <a:ext cx="3622309" cy="472031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525CA2A-106F-4254-811C-1C08605CFB78}"/>
              </a:ext>
            </a:extLst>
          </p:cNvPr>
          <p:cNvSpPr/>
          <p:nvPr/>
        </p:nvSpPr>
        <p:spPr bwMode="auto">
          <a:xfrm>
            <a:off x="7950063" y="1388565"/>
            <a:ext cx="3901435" cy="4720313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3B7D68-F10A-403D-8946-05F2B1CA926C}"/>
              </a:ext>
            </a:extLst>
          </p:cNvPr>
          <p:cNvSpPr txBox="1"/>
          <p:nvPr/>
        </p:nvSpPr>
        <p:spPr>
          <a:xfrm>
            <a:off x="338657" y="1197009"/>
            <a:ext cx="3622308" cy="221599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000" b="1" dirty="0">
                <a:solidFill>
                  <a:srgbClr val="50505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ranspose</a:t>
            </a:r>
          </a:p>
          <a:p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Convert Rows to Columns and</a:t>
            </a:r>
          </a:p>
          <a:p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Columns to Row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50505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yntax</a:t>
            </a:r>
            <a:r>
              <a:rPr lang="en-US" sz="14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:  </a:t>
            </a:r>
            <a:r>
              <a:rPr lang="en-US" sz="14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Table.Transpose</a:t>
            </a: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(</a:t>
            </a:r>
            <a:r>
              <a:rPr lang="en-US" sz="1400" dirty="0">
                <a:solidFill>
                  <a:srgbClr val="00B0F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evious</a:t>
            </a: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)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Column headers are lost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To transpose column headers, demote them to data prior to transpos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19C396F-B709-423B-A496-0080277B6238}"/>
              </a:ext>
            </a:extLst>
          </p:cNvPr>
          <p:cNvSpPr txBox="1"/>
          <p:nvPr/>
        </p:nvSpPr>
        <p:spPr>
          <a:xfrm>
            <a:off x="4118409" y="1129356"/>
            <a:ext cx="3761872" cy="2677656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2000" b="1"/>
            </a:lvl1pPr>
            <a:lvl2pPr marL="342900" lvl="1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 sz="1400"/>
            </a:lvl2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dirty="0">
                <a:solidFill>
                  <a:srgbClr val="50505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ivot Column</a:t>
            </a:r>
          </a:p>
          <a:p>
            <a:r>
              <a:rPr lang="en-US" sz="1400" b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Convert Selected column of values into Column Headers</a:t>
            </a:r>
          </a:p>
          <a:p>
            <a:pPr lvl="1"/>
            <a:r>
              <a:rPr lang="en-US" sz="1400" b="1" dirty="0">
                <a:solidFill>
                  <a:srgbClr val="50505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yntax</a:t>
            </a:r>
            <a:r>
              <a:rPr lang="en-US" sz="14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: </a:t>
            </a:r>
            <a:r>
              <a:rPr lang="en-US" sz="12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Table.Pivot</a:t>
            </a: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(</a:t>
            </a:r>
            <a:r>
              <a:rPr lang="en-US" sz="1200" dirty="0" err="1">
                <a:solidFill>
                  <a:srgbClr val="00B0F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evious</a:t>
            </a:r>
            <a:r>
              <a:rPr lang="en-US" sz="12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,List.Distinct</a:t>
            </a: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(</a:t>
            </a:r>
            <a:r>
              <a:rPr lang="en-US" sz="1200" dirty="0">
                <a:solidFill>
                  <a:srgbClr val="00B0F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evious</a:t>
            </a: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[Color]), "Color", "Value", </a:t>
            </a:r>
            <a:r>
              <a:rPr lang="en-US" sz="12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List.Sum</a:t>
            </a: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)</a:t>
            </a:r>
          </a:p>
          <a:p>
            <a:pPr lvl="1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The values in [Color] column are converted to headers</a:t>
            </a:r>
          </a:p>
          <a:p>
            <a:pPr lvl="1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The values in the [Value] column are filled in where applicab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50211F3-FF5B-4B6B-8BE4-68761ABC6A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5472" y="5093360"/>
            <a:ext cx="3469588" cy="596335"/>
          </a:xfrm>
          <a:prstGeom prst="rect">
            <a:avLst/>
          </a:prstGeom>
        </p:spPr>
      </p:pic>
      <p:sp>
        <p:nvSpPr>
          <p:cNvPr id="20" name="Bent Arrow 18">
            <a:extLst>
              <a:ext uri="{FF2B5EF4-FFF2-40B4-BE49-F238E27FC236}">
                <a16:creationId xmlns:a16="http://schemas.microsoft.com/office/drawing/2014/main" id="{1B405541-6C62-431B-B178-D9F70CF71EC4}"/>
              </a:ext>
            </a:extLst>
          </p:cNvPr>
          <p:cNvSpPr/>
          <p:nvPr/>
        </p:nvSpPr>
        <p:spPr bwMode="auto">
          <a:xfrm rot="16200000" flipH="1" flipV="1">
            <a:off x="2833222" y="4405205"/>
            <a:ext cx="602108" cy="560236"/>
          </a:xfrm>
          <a:prstGeom prst="bentArrow">
            <a:avLst>
              <a:gd name="adj1" fmla="val 25000"/>
              <a:gd name="adj2" fmla="val 25859"/>
              <a:gd name="adj3" fmla="val 25000"/>
              <a:gd name="adj4" fmla="val 43750"/>
            </a:avLst>
          </a:prstGeom>
          <a:solidFill>
            <a:srgbClr val="FFC000"/>
          </a:solidFill>
          <a:ln w="1905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solidFill>
                <a:srgbClr val="F2C812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716AA03-167B-4CC6-9441-FDB09D6110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5472" y="3876286"/>
            <a:ext cx="2316726" cy="897555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59B9AE61-285A-469C-AA80-A29C87F6F6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49828" y="3877644"/>
            <a:ext cx="2083870" cy="807341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11EE28B5-2EE5-41F1-BB4B-977B1B560C2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76613" y="5238959"/>
            <a:ext cx="2752189" cy="844064"/>
          </a:xfrm>
          <a:prstGeom prst="rect">
            <a:avLst/>
          </a:prstGeom>
        </p:spPr>
      </p:pic>
      <p:sp>
        <p:nvSpPr>
          <p:cNvPr id="28" name="Bent Arrow 24">
            <a:extLst>
              <a:ext uri="{FF2B5EF4-FFF2-40B4-BE49-F238E27FC236}">
                <a16:creationId xmlns:a16="http://schemas.microsoft.com/office/drawing/2014/main" id="{6AFCCF95-7179-4D6F-A6A7-DA303F081C69}"/>
              </a:ext>
            </a:extLst>
          </p:cNvPr>
          <p:cNvSpPr/>
          <p:nvPr/>
        </p:nvSpPr>
        <p:spPr bwMode="auto">
          <a:xfrm rot="10800000" flipH="1">
            <a:off x="4614396" y="4726879"/>
            <a:ext cx="2684670" cy="431998"/>
          </a:xfrm>
          <a:prstGeom prst="bentArrow">
            <a:avLst>
              <a:gd name="adj1" fmla="val 36141"/>
              <a:gd name="adj2" fmla="val 39310"/>
              <a:gd name="adj3" fmla="val 27378"/>
              <a:gd name="adj4" fmla="val 43750"/>
            </a:avLst>
          </a:prstGeom>
          <a:solidFill>
            <a:srgbClr val="FFC000"/>
          </a:solidFill>
          <a:ln w="1905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solidFill>
                <a:srgbClr val="F2C812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25CA781-AF62-4891-A395-10DA214D0FD1}"/>
              </a:ext>
            </a:extLst>
          </p:cNvPr>
          <p:cNvSpPr txBox="1"/>
          <p:nvPr/>
        </p:nvSpPr>
        <p:spPr>
          <a:xfrm>
            <a:off x="7942703" y="1125565"/>
            <a:ext cx="4178582" cy="267150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2000" b="1"/>
            </a:lvl1pPr>
            <a:lvl2pPr marL="342900" lvl="1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 sz="1400"/>
            </a:lvl2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dirty="0">
                <a:solidFill>
                  <a:srgbClr val="50505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pivot Columns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400" b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Convert Selected Column Headers  into 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400" b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column of values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US" sz="1400" b="1" dirty="0">
                <a:solidFill>
                  <a:srgbClr val="50505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yntax</a:t>
            </a:r>
            <a:r>
              <a:rPr lang="en-US" sz="14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: </a:t>
            </a:r>
            <a:r>
              <a:rPr lang="en-US" sz="12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Table.UnpivotOtherColumns</a:t>
            </a: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(</a:t>
            </a:r>
            <a:r>
              <a:rPr lang="en-US" sz="1200" dirty="0">
                <a:solidFill>
                  <a:srgbClr val="00B0F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evious</a:t>
            </a: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, {"Letter"}, "Attribute", "Value")</a:t>
            </a:r>
          </a:p>
          <a:p>
            <a:pPr lvl="1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The </a:t>
            </a:r>
            <a:r>
              <a:rPr lang="en-US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npivoted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 column headers become the column [Attribute]</a:t>
            </a:r>
          </a:p>
          <a:p>
            <a:pPr lvl="1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The </a:t>
            </a:r>
            <a:r>
              <a:rPr lang="en-US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npivoted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 values become the column [Value]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96FA749-2CFA-4163-9D4E-B722A143EA55}"/>
              </a:ext>
            </a:extLst>
          </p:cNvPr>
          <p:cNvSpPr/>
          <p:nvPr/>
        </p:nvSpPr>
        <p:spPr>
          <a:xfrm>
            <a:off x="2565016" y="6406304"/>
            <a:ext cx="60743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505050"/>
                </a:solidFill>
              </a:rPr>
              <a:t>Note</a:t>
            </a:r>
            <a:r>
              <a:rPr lang="en-US" b="1" dirty="0"/>
              <a:t>: </a:t>
            </a:r>
            <a:r>
              <a:rPr lang="en-US" dirty="0">
                <a:solidFill>
                  <a:srgbClr val="00B0F0"/>
                </a:solidFill>
              </a:rPr>
              <a:t>Previous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=&gt; Name of the previous step in the query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1F8C9816-B5E6-4023-9EE5-7D35B2AF41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07263" y="3913836"/>
            <a:ext cx="2880635" cy="883457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1B4B16F-C0E6-46E9-8FF5-5D05136A3B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70127" y="5080080"/>
            <a:ext cx="2457704" cy="888157"/>
          </a:xfrm>
          <a:prstGeom prst="rect">
            <a:avLst/>
          </a:prstGeom>
        </p:spPr>
      </p:pic>
      <p:sp>
        <p:nvSpPr>
          <p:cNvPr id="38" name="Bent Arrow 33">
            <a:extLst>
              <a:ext uri="{FF2B5EF4-FFF2-40B4-BE49-F238E27FC236}">
                <a16:creationId xmlns:a16="http://schemas.microsoft.com/office/drawing/2014/main" id="{1AC75A45-ED0D-4DF2-A947-A3F764FE3C92}"/>
              </a:ext>
            </a:extLst>
          </p:cNvPr>
          <p:cNvSpPr/>
          <p:nvPr/>
        </p:nvSpPr>
        <p:spPr bwMode="auto">
          <a:xfrm rot="16200000" flipH="1" flipV="1">
            <a:off x="10559263" y="4499760"/>
            <a:ext cx="1284674" cy="348277"/>
          </a:xfrm>
          <a:prstGeom prst="bentArrow">
            <a:avLst>
              <a:gd name="adj1" fmla="val 45650"/>
              <a:gd name="adj2" fmla="val 50000"/>
              <a:gd name="adj3" fmla="val 25001"/>
              <a:gd name="adj4" fmla="val 43750"/>
            </a:avLst>
          </a:prstGeom>
          <a:solidFill>
            <a:srgbClr val="FFC000"/>
          </a:solidFill>
          <a:ln w="1905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solidFill>
                <a:srgbClr val="F2C812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79921EF-745A-0158-80B9-73804E20016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08800" y="1126394"/>
            <a:ext cx="1340305" cy="432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62922D5-AA4C-E1F6-9C46-82ED68A6ABB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15780" y="1091141"/>
            <a:ext cx="1426604" cy="432000"/>
          </a:xfrm>
          <a:prstGeom prst="rect">
            <a:avLst/>
          </a:prstGeom>
        </p:spPr>
      </p:pic>
      <p:pic>
        <p:nvPicPr>
          <p:cNvPr id="7" name="Picture 4">
            <a:extLst>
              <a:ext uri="{FF2B5EF4-FFF2-40B4-BE49-F238E27FC236}">
                <a16:creationId xmlns:a16="http://schemas.microsoft.com/office/drawing/2014/main" id="{E79F6583-6495-CBE6-3D01-D2DB3A9286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/>
          <a:stretch>
            <a:fillRect/>
          </a:stretch>
        </p:blipFill>
        <p:spPr bwMode="auto">
          <a:xfrm>
            <a:off x="10362132" y="957637"/>
            <a:ext cx="1678936" cy="769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081845A-AFDC-E272-A180-6A71500EFB3F}"/>
              </a:ext>
            </a:extLst>
          </p:cNvPr>
          <p:cNvCxnSpPr>
            <a:cxnSpLocks/>
          </p:cNvCxnSpPr>
          <p:nvPr/>
        </p:nvCxnSpPr>
        <p:spPr>
          <a:xfrm>
            <a:off x="4048628" y="1091141"/>
            <a:ext cx="0" cy="5323511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B7F8B21-9A3A-A93D-75A1-049F706B2103}"/>
              </a:ext>
            </a:extLst>
          </p:cNvPr>
          <p:cNvCxnSpPr>
            <a:cxnSpLocks/>
          </p:cNvCxnSpPr>
          <p:nvPr/>
        </p:nvCxnSpPr>
        <p:spPr>
          <a:xfrm>
            <a:off x="7817858" y="1082793"/>
            <a:ext cx="0" cy="5323511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565714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8FD1552-547E-4B28-BD38-00C58A5971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defTabSz="9142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Join Kinds – Merge Typ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0AB1958-E8B0-4965-B0AD-C2C8EBAB3E14}"/>
              </a:ext>
            </a:extLst>
          </p:cNvPr>
          <p:cNvSpPr/>
          <p:nvPr/>
        </p:nvSpPr>
        <p:spPr bwMode="auto">
          <a:xfrm>
            <a:off x="355042" y="1816845"/>
            <a:ext cx="3622309" cy="21776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2D239B1-6052-4BEF-97A3-4C4ECFFFF1AF}"/>
              </a:ext>
            </a:extLst>
          </p:cNvPr>
          <p:cNvSpPr/>
          <p:nvPr/>
        </p:nvSpPr>
        <p:spPr bwMode="auto">
          <a:xfrm>
            <a:off x="4116914" y="1816844"/>
            <a:ext cx="3622309" cy="21924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7FC2797-3779-4FE1-8858-20471AF325F0}"/>
              </a:ext>
            </a:extLst>
          </p:cNvPr>
          <p:cNvSpPr/>
          <p:nvPr/>
        </p:nvSpPr>
        <p:spPr bwMode="auto">
          <a:xfrm>
            <a:off x="7878786" y="1816843"/>
            <a:ext cx="3901435" cy="21924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E472213-6F5F-4685-907B-2362FCF82CDE}"/>
              </a:ext>
            </a:extLst>
          </p:cNvPr>
          <p:cNvSpPr/>
          <p:nvPr/>
        </p:nvSpPr>
        <p:spPr bwMode="auto">
          <a:xfrm>
            <a:off x="355042" y="4066543"/>
            <a:ext cx="3622309" cy="207300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EF309C-5A58-4AB5-AD69-EF622373F5D7}"/>
              </a:ext>
            </a:extLst>
          </p:cNvPr>
          <p:cNvSpPr/>
          <p:nvPr/>
        </p:nvSpPr>
        <p:spPr bwMode="auto">
          <a:xfrm>
            <a:off x="4116914" y="4066542"/>
            <a:ext cx="3622309" cy="207300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3AA932D-1275-4DB2-AF5F-5EB8BAC3381E}"/>
              </a:ext>
            </a:extLst>
          </p:cNvPr>
          <p:cNvSpPr/>
          <p:nvPr/>
        </p:nvSpPr>
        <p:spPr bwMode="auto">
          <a:xfrm>
            <a:off x="7878786" y="4066541"/>
            <a:ext cx="3901435" cy="207300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8B1427A-D5F7-491F-9E13-D3568CAF4A07}"/>
              </a:ext>
            </a:extLst>
          </p:cNvPr>
          <p:cNvSpPr txBox="1"/>
          <p:nvPr/>
        </p:nvSpPr>
        <p:spPr>
          <a:xfrm>
            <a:off x="3977351" y="1804198"/>
            <a:ext cx="3761872" cy="170200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eft Outer </a:t>
            </a:r>
            <a:r>
              <a:rPr lang="en-US" sz="11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(</a:t>
            </a:r>
            <a:r>
              <a:rPr lang="en-US" sz="1100" dirty="0" err="1"/>
              <a:t>JoinKind.LeftOuter</a:t>
            </a:r>
            <a:r>
              <a:rPr lang="en-US" sz="11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)</a:t>
            </a:r>
            <a:br>
              <a:rPr lang="en-US" sz="11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</a:b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efault for Merge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hows all rows in 1st query (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</a:t>
            </a: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) and “paints” attributes from second query (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</a:t>
            </a: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) based on matches in joined column(s). 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84467BE-FE29-4645-8B20-EF92AABD493D}"/>
              </a:ext>
            </a:extLst>
          </p:cNvPr>
          <p:cNvSpPr txBox="1"/>
          <p:nvPr/>
        </p:nvSpPr>
        <p:spPr>
          <a:xfrm>
            <a:off x="4116914" y="4069503"/>
            <a:ext cx="3622310" cy="140346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ight Outer  </a:t>
            </a:r>
            <a:r>
              <a:rPr lang="en-US" sz="11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(</a:t>
            </a:r>
            <a:r>
              <a:rPr lang="en-US" sz="1100" dirty="0" err="1"/>
              <a:t>JoinKind.RightOuter</a:t>
            </a:r>
            <a:r>
              <a:rPr lang="en-US" sz="11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)</a:t>
            </a:r>
            <a:br>
              <a:rPr lang="en-US" sz="11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</a:b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hows all rows in 2</a:t>
            </a:r>
            <a:r>
              <a:rPr lang="en-US" sz="1600" baseline="30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nd</a:t>
            </a: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(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</a:t>
            </a: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) query and “paints” attributes from 1</a:t>
            </a:r>
            <a:r>
              <a:rPr lang="en-US" sz="1600" baseline="30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t</a:t>
            </a: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query (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</a:t>
            </a: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) based on matches in joined column(s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F2C1FDA-C73B-4F99-B1C5-6834B746B3E2}"/>
              </a:ext>
            </a:extLst>
          </p:cNvPr>
          <p:cNvSpPr txBox="1"/>
          <p:nvPr/>
        </p:nvSpPr>
        <p:spPr>
          <a:xfrm>
            <a:off x="355042" y="4099445"/>
            <a:ext cx="3622309" cy="1037207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ner  </a:t>
            </a:r>
            <a:r>
              <a:rPr lang="en-US" sz="11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(</a:t>
            </a:r>
            <a:r>
              <a:rPr lang="en-US" sz="1100" dirty="0" err="1"/>
              <a:t>JoinKind.Inner</a:t>
            </a:r>
            <a:r>
              <a:rPr lang="en-US" sz="11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)</a:t>
            </a: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imits the rows to ONLY those which Match on joined column(s)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4EB1CB5-483B-4726-94B3-907B7F6F3FF1}"/>
              </a:ext>
            </a:extLst>
          </p:cNvPr>
          <p:cNvSpPr txBox="1"/>
          <p:nvPr/>
        </p:nvSpPr>
        <p:spPr>
          <a:xfrm>
            <a:off x="355042" y="1815009"/>
            <a:ext cx="3610982" cy="1037207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ull Outer </a:t>
            </a:r>
            <a:r>
              <a:rPr lang="en-US" sz="11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(</a:t>
            </a:r>
            <a:r>
              <a:rPr lang="en-US" sz="11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JoinKind.FullOuter</a:t>
            </a:r>
            <a:r>
              <a:rPr lang="en-US" sz="11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)</a:t>
            </a: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hows 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ll of the rows from both queries.  </a:t>
            </a: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ike SQL “Union All”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A369504A-FBDE-43A5-BA40-56CEA36629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9040" y="3005910"/>
            <a:ext cx="1268530" cy="868196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FF38065F-13E2-45D2-B3B3-76251020EB5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478" y="3168321"/>
            <a:ext cx="1223065" cy="82614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7F526D2-634E-42EB-9DCF-7600066B8CC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7231" y="5034989"/>
            <a:ext cx="1371055" cy="935049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350F03B9-D407-47F2-9593-F168D700EA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9586" y="5119342"/>
            <a:ext cx="1403957" cy="93949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CA453493-F195-4F60-9679-386F435FC7C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344" y="3052262"/>
            <a:ext cx="1249456" cy="840980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842900D7-B7AA-4986-B80E-F4732E529B2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908" y="5147678"/>
            <a:ext cx="1333892" cy="882818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D3B51AED-80C6-4AAE-A7CB-E9E4CE0F17EE}"/>
              </a:ext>
            </a:extLst>
          </p:cNvPr>
          <p:cNvSpPr txBox="1"/>
          <p:nvPr/>
        </p:nvSpPr>
        <p:spPr>
          <a:xfrm>
            <a:off x="7808343" y="4046334"/>
            <a:ext cx="3622310" cy="140346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ight Anti  </a:t>
            </a:r>
            <a:r>
              <a:rPr lang="en-US" sz="11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(</a:t>
            </a:r>
            <a:r>
              <a:rPr lang="en-US" sz="1100" dirty="0" err="1"/>
              <a:t>JoinKind.RightAnti</a:t>
            </a:r>
            <a:r>
              <a:rPr lang="en-US" sz="11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)</a:t>
            </a:r>
            <a:br>
              <a:rPr lang="en-US" sz="11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</a:b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hows ONLY rows in 2</a:t>
            </a:r>
            <a:r>
              <a:rPr lang="en-US" sz="1600" baseline="30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nd</a:t>
            </a: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(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</a:t>
            </a: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) query where there is NO MATCH to 1</a:t>
            </a:r>
            <a:r>
              <a:rPr lang="en-US" sz="1600" baseline="30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t</a:t>
            </a: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query (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</a:t>
            </a: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) based on joined column(s)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29A1430-8947-419E-A468-7711874CE1DB}"/>
              </a:ext>
            </a:extLst>
          </p:cNvPr>
          <p:cNvSpPr txBox="1"/>
          <p:nvPr/>
        </p:nvSpPr>
        <p:spPr>
          <a:xfrm>
            <a:off x="7881518" y="1804197"/>
            <a:ext cx="3622310" cy="11818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eft Anti  </a:t>
            </a:r>
            <a:r>
              <a:rPr lang="en-US" sz="11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(</a:t>
            </a:r>
            <a:r>
              <a:rPr lang="en-US" sz="1100" dirty="0" err="1"/>
              <a:t>JoinKind.LeftAnti</a:t>
            </a:r>
            <a:r>
              <a:rPr lang="en-US" sz="11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)</a:t>
            </a:r>
            <a:br>
              <a:rPr lang="en-US" sz="11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</a:b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hows ONLY rows in 1</a:t>
            </a:r>
            <a:r>
              <a:rPr lang="en-US" sz="1600" baseline="30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t</a:t>
            </a: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(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</a:t>
            </a: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) query where there is NO MATCH to 2</a:t>
            </a:r>
            <a:r>
              <a:rPr lang="en-US" sz="1600" baseline="30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nd</a:t>
            </a: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query (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</a:t>
            </a: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) based on joined column(s)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6F48875-B081-4D60-BE16-F2856FACE357}"/>
              </a:ext>
            </a:extLst>
          </p:cNvPr>
          <p:cNvSpPr/>
          <p:nvPr/>
        </p:nvSpPr>
        <p:spPr>
          <a:xfrm>
            <a:off x="2639040" y="6371569"/>
            <a:ext cx="64384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Note: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ne or Multiple columns can be used to create the joi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1C15E6F-3EEA-4BE4-B844-EE4F4B4FBB66}"/>
              </a:ext>
            </a:extLst>
          </p:cNvPr>
          <p:cNvSpPr/>
          <p:nvPr/>
        </p:nvSpPr>
        <p:spPr bwMode="auto">
          <a:xfrm>
            <a:off x="77972" y="6606363"/>
            <a:ext cx="1906772" cy="2209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1715501"/>
      </p:ext>
    </p:extLst>
  </p:cSld>
  <p:clrMapOvr>
    <a:masterClrMapping/>
  </p:clrMapOvr>
  <p:transition>
    <p:fade/>
  </p:transition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B3FFE0-AD73-43E5-8107-ABFB76AC8E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63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7784DBC-08FB-43FD-A0A1-F5B05CA80766}"/>
              </a:ext>
            </a:extLst>
          </p:cNvPr>
          <p:cNvSpPr txBox="1"/>
          <p:nvPr/>
        </p:nvSpPr>
        <p:spPr>
          <a:xfrm>
            <a:off x="6434240" y="1030465"/>
            <a:ext cx="5534971" cy="3074688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1800"/>
              </a:spcAft>
              <a:defRPr b="1">
                <a:latin typeface="Segoe UI (Body)"/>
                <a:cs typeface="Segoe UI Light" panose="020B0502040204020203" pitchFamily="34" charset="0"/>
              </a:defRPr>
            </a:lvl1pPr>
          </a:lstStyle>
          <a:p>
            <a:r>
              <a:rPr lang="en-US" sz="2000">
                <a:latin typeface="Segoe UI Light" panose="020B0502040204020203" pitchFamily="34" charset="0"/>
              </a:rPr>
              <a:t>Reference</a:t>
            </a:r>
          </a:p>
          <a:p>
            <a:r>
              <a:rPr lang="en-US" sz="1600" b="0">
                <a:latin typeface="Segoe UI Light" panose="020B0502040204020203" pitchFamily="34" charset="0"/>
              </a:rPr>
              <a:t>Uses the output of one query as the INPUT in another query.  (Link in a chai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>
                <a:latin typeface="Segoe UI Light" panose="020B0502040204020203" pitchFamily="34" charset="0"/>
              </a:rPr>
              <a:t>All subsequent changes made to 1st query affect the 2nd during refres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>
                <a:latin typeface="Segoe UI Light" panose="020B0502040204020203" pitchFamily="34" charset="0"/>
              </a:rPr>
              <a:t>When the 2nd query executes, it re-executes all the steps in the 1st query</a:t>
            </a:r>
          </a:p>
          <a:p>
            <a:endParaRPr lang="en-US" sz="2000">
              <a:latin typeface="Segoe UI Light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24DAC71-4C2F-4AD9-BA77-A32CB40C362C}"/>
              </a:ext>
            </a:extLst>
          </p:cNvPr>
          <p:cNvSpPr txBox="1"/>
          <p:nvPr/>
        </p:nvSpPr>
        <p:spPr>
          <a:xfrm>
            <a:off x="873940" y="1030465"/>
            <a:ext cx="5299743" cy="285308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1800"/>
              </a:spcAft>
              <a:defRPr b="1">
                <a:latin typeface="Segoe UI (Body)"/>
                <a:cs typeface="Segoe UI Light" panose="020B0502040204020203" pitchFamily="34" charset="0"/>
              </a:defRPr>
            </a:lvl1pPr>
          </a:lstStyle>
          <a:p>
            <a:r>
              <a:rPr lang="en-US" sz="2000" dirty="0">
                <a:latin typeface="Segoe UI Light" panose="020B0502040204020203" pitchFamily="34" charset="0"/>
              </a:rPr>
              <a:t>Duplicate</a:t>
            </a:r>
          </a:p>
          <a:p>
            <a:r>
              <a:rPr lang="en-US" sz="1600" b="0" dirty="0">
                <a:latin typeface="Segoe UI Light" panose="020B0502040204020203" pitchFamily="34" charset="0"/>
              </a:rPr>
              <a:t>Copies a query at a point in time (Save A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>
                <a:latin typeface="Segoe UI Light" panose="020B0502040204020203" pitchFamily="34" charset="0"/>
              </a:rPr>
              <a:t>Duplicate query can be modified independently without altering the original que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>
                <a:latin typeface="Segoe UI Light" panose="020B0502040204020203" pitchFamily="34" charset="0"/>
              </a:rPr>
              <a:t>Executing the 2nd query (duplicate) does NOT execute the 1st (original) query</a:t>
            </a:r>
          </a:p>
          <a:p>
            <a:endParaRPr lang="en-US" sz="2000" dirty="0">
              <a:latin typeface="Segoe UI Light" panose="020B0502040204020203" pitchFamily="34" charset="0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B00366E-7D48-4CA1-8928-681F2D66BDE7}"/>
              </a:ext>
            </a:extLst>
          </p:cNvPr>
          <p:cNvCxnSpPr>
            <a:cxnSpLocks/>
          </p:cNvCxnSpPr>
          <p:nvPr/>
        </p:nvCxnSpPr>
        <p:spPr>
          <a:xfrm flipV="1">
            <a:off x="6173683" y="1426464"/>
            <a:ext cx="0" cy="479334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2738AF51-6430-484F-B98F-F193354DA5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6861" y="3500406"/>
            <a:ext cx="2500830" cy="271939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B4ED7AB-4866-4493-B75F-A1C7452B95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6527" y="3581753"/>
            <a:ext cx="2353027" cy="2719398"/>
          </a:xfrm>
          <a:prstGeom prst="rect">
            <a:avLst/>
          </a:prstGeom>
        </p:spPr>
      </p:pic>
      <p:sp>
        <p:nvSpPr>
          <p:cNvPr id="6" name="Title 4">
            <a:extLst>
              <a:ext uri="{FF2B5EF4-FFF2-40B4-BE49-F238E27FC236}">
                <a16:creationId xmlns:a16="http://schemas.microsoft.com/office/drawing/2014/main" id="{60985FCF-5D97-64EC-289A-47B854D8B7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5512" y="424314"/>
            <a:ext cx="10340975" cy="414337"/>
          </a:xfrm>
        </p:spPr>
        <p:txBody>
          <a:bodyPr/>
          <a:lstStyle/>
          <a:p>
            <a:pPr marL="0" marR="0" lvl="0" indent="0" defTabSz="9142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kern="0" cap="none" spc="0" baseline="0" dirty="0">
                <a:ln>
                  <a:noFill/>
                </a:ln>
                <a:latin typeface="Segoe UI" panose="020B0502040204020203" pitchFamily="34" charset="0"/>
              </a:rPr>
              <a:t>Table Duplicate vs Table Reference</a:t>
            </a:r>
            <a:endParaRPr kumimoji="0" lang="en-US" sz="3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068814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8FD1552-547E-4B28-BD38-00C58A5971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defTabSz="9142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kern="0" cap="none" spc="0" baseline="0" dirty="0">
                <a:ln>
                  <a:noFill/>
                </a:ln>
                <a:latin typeface="Segoe UI" panose="020B0502040204020203" pitchFamily="34" charset="0"/>
              </a:rPr>
              <a:t>Join Kinds – Other Combining Queries</a:t>
            </a:r>
            <a:endParaRPr kumimoji="0" lang="en-US" sz="3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CBF7A7A-8233-45FB-A6C0-743CD1EC57FD}"/>
              </a:ext>
            </a:extLst>
          </p:cNvPr>
          <p:cNvSpPr/>
          <p:nvPr/>
        </p:nvSpPr>
        <p:spPr bwMode="auto">
          <a:xfrm>
            <a:off x="569895" y="1552386"/>
            <a:ext cx="5486400" cy="213809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650BBE-4E2B-427E-9D1F-B364A69A1861}"/>
              </a:ext>
            </a:extLst>
          </p:cNvPr>
          <p:cNvSpPr/>
          <p:nvPr/>
        </p:nvSpPr>
        <p:spPr bwMode="auto">
          <a:xfrm>
            <a:off x="6378049" y="1552386"/>
            <a:ext cx="5486400" cy="213809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AFB7213-2442-4D64-9413-D509AF729E21}"/>
              </a:ext>
            </a:extLst>
          </p:cNvPr>
          <p:cNvSpPr/>
          <p:nvPr/>
        </p:nvSpPr>
        <p:spPr bwMode="auto">
          <a:xfrm>
            <a:off x="569895" y="3963130"/>
            <a:ext cx="5486400" cy="20436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F473565-3156-4322-BB8D-9517F74D6187}"/>
              </a:ext>
            </a:extLst>
          </p:cNvPr>
          <p:cNvSpPr/>
          <p:nvPr/>
        </p:nvSpPr>
        <p:spPr bwMode="auto">
          <a:xfrm>
            <a:off x="6370590" y="3963130"/>
            <a:ext cx="5486400" cy="20436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3CBD917-34B1-4DD5-9FF3-29AD1100D38D}"/>
              </a:ext>
            </a:extLst>
          </p:cNvPr>
          <p:cNvSpPr txBox="1"/>
          <p:nvPr/>
        </p:nvSpPr>
        <p:spPr>
          <a:xfrm>
            <a:off x="592811" y="1585509"/>
            <a:ext cx="5486400" cy="216059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erge</a:t>
            </a:r>
            <a:b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</a:b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mbines attributes (columns) of two queries based on a joined columns(s)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lumn(s) used for the join must be in both queries (can be one or more)</a:t>
            </a:r>
            <a:endParaRPr lang="en-US" sz="1400" dirty="0"/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Both queries rerun with each execution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 Database terms, this is a JOI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CB73FC9-D08B-4330-8B76-C86E0A28384A}"/>
              </a:ext>
            </a:extLst>
          </p:cNvPr>
          <p:cNvSpPr txBox="1"/>
          <p:nvPr/>
        </p:nvSpPr>
        <p:spPr>
          <a:xfrm>
            <a:off x="6370590" y="1583575"/>
            <a:ext cx="5486400" cy="216059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ppend</a:t>
            </a:r>
            <a:b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</a:br>
            <a:r>
              <a:rPr lang="en-US" sz="1400" dirty="0"/>
              <a:t>“Stack” records of two (or more) queries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Both (all) queries rerun with each execution 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Like column headers must be named the same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Non-matching columns will be added to the right as extra </a:t>
            </a:r>
            <a:r>
              <a:rPr lang="en-US" sz="1400" dirty="0" err="1"/>
              <a:t>colunns</a:t>
            </a:r>
            <a:r>
              <a:rPr lang="en-US" sz="1400" dirty="0"/>
              <a:t>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78E4488-5DE2-42E6-ACE4-CD688D3B51FB}"/>
              </a:ext>
            </a:extLst>
          </p:cNvPr>
          <p:cNvSpPr txBox="1"/>
          <p:nvPr/>
        </p:nvSpPr>
        <p:spPr>
          <a:xfrm>
            <a:off x="6370590" y="3970750"/>
            <a:ext cx="5486400" cy="1889748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ference</a:t>
            </a:r>
            <a:b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</a:b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Uses the output of one query as the INPUT in another query.  (Link in a chain)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ll subsequent changes made to 1</a:t>
            </a:r>
            <a:r>
              <a:rPr lang="en-US" sz="1400" baseline="30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t</a:t>
            </a: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query affect the 2</a:t>
            </a:r>
            <a:r>
              <a:rPr lang="en-US" sz="1400" baseline="30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nd</a:t>
            </a: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during refresh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en the 2</a:t>
            </a:r>
            <a:r>
              <a:rPr lang="en-US" sz="1400" baseline="30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nd</a:t>
            </a: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query executes, it re-executes all the steps in the 1</a:t>
            </a:r>
            <a:r>
              <a:rPr lang="en-US" sz="1400" baseline="30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t</a:t>
            </a: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quer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AB5E0A1-6FE3-428F-BBE9-E94238DD2CBE}"/>
              </a:ext>
            </a:extLst>
          </p:cNvPr>
          <p:cNvSpPr txBox="1"/>
          <p:nvPr/>
        </p:nvSpPr>
        <p:spPr>
          <a:xfrm>
            <a:off x="569895" y="3968816"/>
            <a:ext cx="5486400" cy="2043636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uplicate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pies a query at a point in time (Save As)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uplicate query can be modified independently without altering the original query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xecuting the 2</a:t>
            </a:r>
            <a:r>
              <a:rPr lang="en-US" sz="1400" baseline="30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nd</a:t>
            </a: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query (duplicate) does NOT execute the 1</a:t>
            </a:r>
            <a:r>
              <a:rPr lang="en-US" sz="1400" baseline="30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t</a:t>
            </a: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(original) query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E82C1BA-66E3-4CC1-8392-C1FF805D42E1}"/>
              </a:ext>
            </a:extLst>
          </p:cNvPr>
          <p:cNvSpPr/>
          <p:nvPr/>
        </p:nvSpPr>
        <p:spPr bwMode="auto">
          <a:xfrm>
            <a:off x="77972" y="6606363"/>
            <a:ext cx="1906772" cy="2209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8326314"/>
      </p:ext>
    </p:extLst>
  </p:cSld>
  <p:clrMapOvr>
    <a:masterClrMapping/>
  </p:clrMapOvr>
  <p:transition>
    <p:fade/>
  </p:transition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8FD1552-547E-4B28-BD38-00C58A5971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defTabSz="9142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uzzy Merg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3265330-A797-4A7D-892B-47362C7F4494}"/>
              </a:ext>
            </a:extLst>
          </p:cNvPr>
          <p:cNvSpPr txBox="1">
            <a:spLocks/>
          </p:cNvSpPr>
          <p:nvPr/>
        </p:nvSpPr>
        <p:spPr>
          <a:xfrm>
            <a:off x="773973" y="1215429"/>
            <a:ext cx="10228088" cy="206909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135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5294" kern="1200" spc="-100" dirty="0">
                <a:ln w="3175">
                  <a:noFill/>
                </a:ln>
                <a:solidFill>
                  <a:schemeClr val="tx2"/>
                </a:solidFill>
                <a:latin typeface="+mj-lt"/>
                <a:ea typeface="ＭＳ Ｐゴシック" charset="0"/>
                <a:cs typeface="Segoe UI" pitchFamily="34" charset="0"/>
              </a:defRPr>
            </a:lvl1pPr>
            <a:lvl2pPr algn="l" defTabSz="9135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294">
                <a:solidFill>
                  <a:schemeClr val="tx2"/>
                </a:solidFill>
                <a:latin typeface="Segoe UI Light" charset="0"/>
                <a:ea typeface="ＭＳ Ｐゴシック" charset="0"/>
                <a:cs typeface="Segoe UI" charset="0"/>
              </a:defRPr>
            </a:lvl2pPr>
            <a:lvl3pPr algn="l" defTabSz="9135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294">
                <a:solidFill>
                  <a:schemeClr val="tx2"/>
                </a:solidFill>
                <a:latin typeface="Segoe UI Light" charset="0"/>
                <a:ea typeface="ＭＳ Ｐゴシック" charset="0"/>
                <a:cs typeface="Segoe UI" charset="0"/>
              </a:defRPr>
            </a:lvl3pPr>
            <a:lvl4pPr algn="l" defTabSz="9135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294">
                <a:solidFill>
                  <a:schemeClr val="tx2"/>
                </a:solidFill>
                <a:latin typeface="Segoe UI Light" charset="0"/>
                <a:ea typeface="ＭＳ Ｐゴシック" charset="0"/>
                <a:cs typeface="Segoe UI" charset="0"/>
              </a:defRPr>
            </a:lvl4pPr>
            <a:lvl5pPr algn="l" defTabSz="9135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294">
                <a:solidFill>
                  <a:schemeClr val="tx2"/>
                </a:solidFill>
                <a:latin typeface="Segoe UI Light" charset="0"/>
                <a:ea typeface="ＭＳ Ｐゴシック" charset="0"/>
                <a:cs typeface="Segoe UI" charset="0"/>
              </a:defRPr>
            </a:lvl5pPr>
            <a:lvl6pPr marL="448193" algn="l" defTabSz="9135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294">
                <a:solidFill>
                  <a:schemeClr val="tx2"/>
                </a:solidFill>
                <a:latin typeface="Segoe UI Light" charset="0"/>
                <a:ea typeface="ＭＳ Ｐゴシック" charset="0"/>
                <a:cs typeface="Segoe UI" charset="0"/>
              </a:defRPr>
            </a:lvl6pPr>
            <a:lvl7pPr marL="896386" algn="l" defTabSz="9135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294">
                <a:solidFill>
                  <a:schemeClr val="tx2"/>
                </a:solidFill>
                <a:latin typeface="Segoe UI Light" charset="0"/>
                <a:ea typeface="ＭＳ Ｐゴシック" charset="0"/>
                <a:cs typeface="Segoe UI" charset="0"/>
              </a:defRPr>
            </a:lvl7pPr>
            <a:lvl8pPr marL="1344579" algn="l" defTabSz="9135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294">
                <a:solidFill>
                  <a:schemeClr val="tx2"/>
                </a:solidFill>
                <a:latin typeface="Segoe UI Light" charset="0"/>
                <a:ea typeface="ＭＳ Ｐゴシック" charset="0"/>
                <a:cs typeface="Segoe UI" charset="0"/>
              </a:defRPr>
            </a:lvl8pPr>
            <a:lvl9pPr marL="1792773" algn="l" defTabSz="9135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294">
                <a:solidFill>
                  <a:schemeClr val="tx2"/>
                </a:solidFill>
                <a:latin typeface="Segoe UI Light" charset="0"/>
                <a:ea typeface="ＭＳ Ｐゴシック" charset="0"/>
                <a:cs typeface="Segoe UI" charset="0"/>
              </a:defRPr>
            </a:lvl9pPr>
          </a:lstStyle>
          <a:p>
            <a:r>
              <a:rPr lang="en-US" sz="2000" spc="0" dirty="0">
                <a:latin typeface="Segoe UI Light" panose="020B0502040204020203" pitchFamily="34" charset="0"/>
                <a:cs typeface="Segoe UI Light" panose="020B0502040204020203" pitchFamily="34" charset="0"/>
              </a:rPr>
              <a:t>Apply Fuzzy Matching algorithms when comparing columns and try to find matches across tables being merged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A4C79A9-D30C-4D07-9AD7-4247C12F94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81873" y="1801830"/>
            <a:ext cx="4087411" cy="458766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77434C4-A0E7-49FE-8585-9038E6C3E3A3}"/>
              </a:ext>
            </a:extLst>
          </p:cNvPr>
          <p:cNvSpPr/>
          <p:nvPr/>
        </p:nvSpPr>
        <p:spPr bwMode="auto">
          <a:xfrm>
            <a:off x="77972" y="6606363"/>
            <a:ext cx="1906772" cy="2209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3297407"/>
      </p:ext>
    </p:extLst>
  </p:cSld>
  <p:clrMapOvr>
    <a:masterClrMapping/>
  </p:clrMapOvr>
  <p:transition>
    <p:fade/>
  </p:transition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8FD1552-547E-4B28-BD38-00C58A5971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defTabSz="9142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ustom Functions</a:t>
            </a:r>
          </a:p>
        </p:txBody>
      </p:sp>
      <p:sp>
        <p:nvSpPr>
          <p:cNvPr id="10" name="Footer Placeholder 8">
            <a:extLst>
              <a:ext uri="{FF2B5EF4-FFF2-40B4-BE49-F238E27FC236}">
                <a16:creationId xmlns:a16="http://schemas.microsoft.com/office/drawing/2014/main" id="{E9138567-68F3-436C-AAA0-AAF494F7F10C}"/>
              </a:ext>
            </a:extLst>
          </p:cNvPr>
          <p:cNvSpPr txBox="1">
            <a:spLocks/>
          </p:cNvSpPr>
          <p:nvPr/>
        </p:nvSpPr>
        <p:spPr>
          <a:xfrm>
            <a:off x="9677400" y="6637020"/>
            <a:ext cx="2842260" cy="22098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defPPr>
              <a:defRPr lang="en-US"/>
            </a:defPPr>
            <a:lvl1pPr marL="0" algn="ctr" defTabSz="914367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1000" kern="1200" dirty="0" smtClean="0">
                <a:solidFill>
                  <a:srgbClr val="50505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dirty="0"/>
              <a:t>© 2021 Microsoft All rights reserved.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C572AF6-C820-475F-877B-20C870DE96EA}"/>
              </a:ext>
            </a:extLst>
          </p:cNvPr>
          <p:cNvSpPr txBox="1"/>
          <p:nvPr/>
        </p:nvSpPr>
        <p:spPr>
          <a:xfrm>
            <a:off x="688490" y="1558356"/>
            <a:ext cx="5822038" cy="177587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r>
              <a:rPr lang="en-US" sz="2400" dirty="0">
                <a:latin typeface="Segoe UI Light" panose="020B0502040204020203" pitchFamily="34" charset="0"/>
                <a:cs typeface="Segoe UI Light" panose="020B0502040204020203" pitchFamily="34" charset="0"/>
              </a:rPr>
              <a:t>Custom Functions help you re-use cod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endParaRPr lang="en-US" sz="2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457200" indent="-457200">
              <a:lnSpc>
                <a:spcPct val="9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Create function using Blank query </a:t>
            </a:r>
          </a:p>
          <a:p>
            <a:pPr marL="457200" indent="-457200">
              <a:lnSpc>
                <a:spcPct val="9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Create function using baseline quer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DEBEB8A-3241-41FF-9127-9B9CC8DE2B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2265" y="1485401"/>
            <a:ext cx="3937945" cy="194359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CE119C4-E69B-42F5-84B6-69A7C7234B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82265" y="3610598"/>
            <a:ext cx="2145323" cy="258779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DF0A197-1ED1-4053-8C0A-4B5EC7D3A7A4}"/>
              </a:ext>
            </a:extLst>
          </p:cNvPr>
          <p:cNvSpPr/>
          <p:nvPr/>
        </p:nvSpPr>
        <p:spPr bwMode="auto">
          <a:xfrm>
            <a:off x="77972" y="6606363"/>
            <a:ext cx="1906772" cy="2209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5207582"/>
      </p:ext>
    </p:extLst>
  </p:cSld>
  <p:clrMapOvr>
    <a:masterClrMapping/>
  </p:clrMapOvr>
  <p:transition>
    <p:fade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8FD1552-547E-4B28-BD38-00C58A5971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defTabSz="9142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nter Data</a:t>
            </a:r>
          </a:p>
        </p:txBody>
      </p:sp>
      <p:sp>
        <p:nvSpPr>
          <p:cNvPr id="10" name="Footer Placeholder 8">
            <a:extLst>
              <a:ext uri="{FF2B5EF4-FFF2-40B4-BE49-F238E27FC236}">
                <a16:creationId xmlns:a16="http://schemas.microsoft.com/office/drawing/2014/main" id="{E9138567-68F3-436C-AAA0-AAF494F7F10C}"/>
              </a:ext>
            </a:extLst>
          </p:cNvPr>
          <p:cNvSpPr txBox="1">
            <a:spLocks/>
          </p:cNvSpPr>
          <p:nvPr/>
        </p:nvSpPr>
        <p:spPr>
          <a:xfrm>
            <a:off x="9677400" y="6637020"/>
            <a:ext cx="2842260" cy="22098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defPPr>
              <a:defRPr lang="en-US"/>
            </a:defPPr>
            <a:lvl1pPr marL="0" algn="ctr" defTabSz="914367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1000" kern="1200" dirty="0" smtClean="0">
                <a:solidFill>
                  <a:srgbClr val="50505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dirty="0"/>
              <a:t>© 2021 Microsoft All rights reserved. </a:t>
            </a:r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08A968C4-11BB-4603-A2B0-593C58E603CC}"/>
              </a:ext>
            </a:extLst>
          </p:cNvPr>
          <p:cNvSpPr txBox="1">
            <a:spLocks/>
          </p:cNvSpPr>
          <p:nvPr/>
        </p:nvSpPr>
        <p:spPr>
          <a:xfrm>
            <a:off x="6578978" y="5240519"/>
            <a:ext cx="5703243" cy="400110"/>
          </a:xfrm>
          <a:prstGeom prst="rect">
            <a:avLst/>
          </a:prstGeom>
        </p:spPr>
        <p:txBody>
          <a:bodyPr vert="horz" wrap="square" lIns="0" tIns="60960" rIns="0" bIns="6096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Clr>
                <a:srgbClr val="00B7E6"/>
              </a:buClr>
              <a:buSzPct val="110000"/>
              <a:buFont typeface="Wingdings" panose="05000000000000000000" pitchFamily="2" charset="2"/>
              <a:buNone/>
              <a:defRPr lang="en-US" sz="1100" b="1" kern="1200" spc="0" baseline="0" dirty="0">
                <a:gradFill>
                  <a:gsLst>
                    <a:gs pos="12389">
                      <a:schemeClr val="bg1"/>
                    </a:gs>
                    <a:gs pos="34000">
                      <a:schemeClr val="bg1"/>
                    </a:gs>
                  </a:gsLst>
                  <a:lin ang="5400000" scaled="0"/>
                </a:gra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CDCDCD"/>
              </a:buClr>
              <a:buSzPct val="110000"/>
              <a:buFont typeface="Wingdings" panose="05000000000000000000" pitchFamily="2" charset="2"/>
              <a:buNone/>
              <a:defRPr lang="en-US" sz="1400" kern="1200" spc="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rgbClr val="CDCDCD"/>
              </a:buClr>
              <a:buSzPct val="110000"/>
              <a:buFont typeface="Wingdings" panose="05000000000000000000" pitchFamily="2" charset="2"/>
              <a:buNone/>
              <a:defRPr lang="en-US" sz="1200" kern="1200" spc="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rgbClr val="CDCDCD"/>
              </a:buClr>
              <a:buSzPct val="110000"/>
              <a:buFont typeface="Wingdings" panose="05000000000000000000" pitchFamily="2" charset="2"/>
              <a:buNone/>
              <a:defRPr lang="en-US" sz="1100" kern="1200" spc="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rgbClr val="CDCDCD"/>
              </a:buClr>
              <a:buSzPct val="110000"/>
              <a:buFont typeface="Wingdings" panose="05000000000000000000" pitchFamily="2" charset="2"/>
              <a:buNone/>
              <a:defRPr lang="en-US" sz="1100" kern="1200" spc="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o add additional rows or columns later, click the gear icon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ED86C0C-BCAE-4150-9ADC-F479C25C83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0493" y="1282432"/>
            <a:ext cx="3213265" cy="133356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F8B122E-9688-4B54-913D-9D92158E77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504" y="3364681"/>
            <a:ext cx="5703243" cy="305834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" name="Down Arrow 9">
            <a:extLst>
              <a:ext uri="{FF2B5EF4-FFF2-40B4-BE49-F238E27FC236}">
                <a16:creationId xmlns:a16="http://schemas.microsoft.com/office/drawing/2014/main" id="{9BFB5710-0DC1-46AA-841B-86492C4A86ED}"/>
              </a:ext>
            </a:extLst>
          </p:cNvPr>
          <p:cNvSpPr/>
          <p:nvPr/>
        </p:nvSpPr>
        <p:spPr bwMode="auto">
          <a:xfrm>
            <a:off x="3088745" y="2733365"/>
            <a:ext cx="596582" cy="550958"/>
          </a:xfrm>
          <a:prstGeom prst="downArrow">
            <a:avLst>
              <a:gd name="adj1" fmla="val 50000"/>
              <a:gd name="adj2" fmla="val 63737"/>
            </a:avLst>
          </a:prstGeom>
          <a:solidFill>
            <a:srgbClr val="FFC000"/>
          </a:solidFill>
          <a:ln w="19050">
            <a:solidFill>
              <a:srgbClr val="50505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8AADF10-F722-44E0-9060-696DD552EE1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53553" y="1884707"/>
            <a:ext cx="2681611" cy="249195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3680266-3241-47A3-ABDF-612022CB8748}"/>
              </a:ext>
            </a:extLst>
          </p:cNvPr>
          <p:cNvSpPr/>
          <p:nvPr/>
        </p:nvSpPr>
        <p:spPr bwMode="auto">
          <a:xfrm>
            <a:off x="77972" y="6606363"/>
            <a:ext cx="1906772" cy="2209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98A7273F-4DE4-3494-6F33-72C16F82A184}"/>
              </a:ext>
            </a:extLst>
          </p:cNvPr>
          <p:cNvSpPr/>
          <p:nvPr/>
        </p:nvSpPr>
        <p:spPr>
          <a:xfrm>
            <a:off x="3738067" y="5800954"/>
            <a:ext cx="391954" cy="373075"/>
          </a:xfrm>
          <a:prstGeom prst="ellipse">
            <a:avLst/>
          </a:prstGeom>
          <a:noFill/>
          <a:ln w="25400">
            <a:solidFill>
              <a:srgbClr val="FF000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869107"/>
      </p:ext>
    </p:extLst>
  </p:cSld>
  <p:clrMapOvr>
    <a:masterClrMapping/>
  </p:clrMapOvr>
  <p:transition>
    <p:fad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6566A0-9C80-E89C-14C8-4C39C185E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5116" y="2123397"/>
            <a:ext cx="4548068" cy="609398"/>
          </a:xfrm>
        </p:spPr>
        <p:txBody>
          <a:bodyPr/>
          <a:lstStyle/>
          <a:p>
            <a:r>
              <a:rPr lang="en-US" sz="4400" cap="none" dirty="0">
                <a:latin typeface="Segoe UI Semibold" panose="020B0702040204020203" pitchFamily="34" charset="0"/>
              </a:rPr>
              <a:t>Module 4 Lab</a:t>
            </a:r>
            <a:endParaRPr lang="en-US" sz="4400" cap="non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47C03D-4EE7-5C3E-845B-DBDED40F8D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21966" y="3161044"/>
            <a:ext cx="4548068" cy="1292662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8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ab 4a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8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Create dynamic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8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path to Excel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32B3B18-CA76-BE76-AFCE-465201C6BCE8}"/>
              </a:ext>
            </a:extLst>
          </p:cNvPr>
          <p:cNvGrpSpPr/>
          <p:nvPr/>
        </p:nvGrpSpPr>
        <p:grpSpPr>
          <a:xfrm>
            <a:off x="3825115" y="516429"/>
            <a:ext cx="4548068" cy="1062152"/>
            <a:chOff x="3825115" y="516429"/>
            <a:chExt cx="4548068" cy="1062152"/>
          </a:xfrm>
        </p:grpSpPr>
        <p:sp>
          <p:nvSpPr>
            <p:cNvPr id="4" name="Text Placeholder 1">
              <a:extLst>
                <a:ext uri="{FF2B5EF4-FFF2-40B4-BE49-F238E27FC236}">
                  <a16:creationId xmlns:a16="http://schemas.microsoft.com/office/drawing/2014/main" id="{F4539750-96A4-88EE-715A-7B20B75D2B4D}"/>
                </a:ext>
              </a:extLst>
            </p:cNvPr>
            <p:cNvSpPr txBox="1">
              <a:spLocks/>
            </p:cNvSpPr>
            <p:nvPr/>
          </p:nvSpPr>
          <p:spPr>
            <a:xfrm>
              <a:off x="4709287" y="516429"/>
              <a:ext cx="1570601" cy="498598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2400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5" name="Title 3">
              <a:extLst>
                <a:ext uri="{FF2B5EF4-FFF2-40B4-BE49-F238E27FC236}">
                  <a16:creationId xmlns:a16="http://schemas.microsoft.com/office/drawing/2014/main" id="{0CD3071C-EF9A-160C-193E-CD22B9307112}"/>
                </a:ext>
              </a:extLst>
            </p:cNvPr>
            <p:cNvSpPr txBox="1">
              <a:spLocks/>
            </p:cNvSpPr>
            <p:nvPr/>
          </p:nvSpPr>
          <p:spPr>
            <a:xfrm>
              <a:off x="4444791" y="1015027"/>
              <a:ext cx="3928392" cy="4985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cap="none" dirty="0">
                  <a:solidFill>
                    <a:srgbClr val="FED112"/>
                  </a:solidFill>
                </a:rPr>
                <a:t>Power BI </a:t>
              </a:r>
              <a:r>
                <a:rPr lang="en-US" sz="2800" cap="none" dirty="0">
                  <a:solidFill>
                    <a:schemeClr val="tx1"/>
                  </a:solidFill>
                </a:rPr>
                <a:t>Training</a:t>
              </a:r>
              <a:endParaRPr lang="en-US" sz="2800" dirty="0">
                <a:solidFill>
                  <a:schemeClr val="tx1"/>
                </a:solidFill>
              </a:endParaRPr>
            </a:p>
          </p:txBody>
        </p:sp>
        <p:pic>
          <p:nvPicPr>
            <p:cNvPr id="6" name="Picture 5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F1C8179E-833E-6A63-9CD8-006084751C6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25115" y="950072"/>
              <a:ext cx="943368" cy="6285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54375251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6566A0-9C80-E89C-14C8-4C39C185E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1966" y="2233641"/>
            <a:ext cx="4548068" cy="609398"/>
          </a:xfrm>
        </p:spPr>
        <p:txBody>
          <a:bodyPr/>
          <a:lstStyle/>
          <a:p>
            <a:r>
              <a:rPr lang="en-US" sz="4400" cap="none" dirty="0">
                <a:latin typeface="Segoe UI Semibold" panose="020B0702040204020203" pitchFamily="34" charset="0"/>
              </a:rPr>
              <a:t>Module 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47C03D-4EE7-5C3E-845B-DBDED40F8D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21966" y="3337854"/>
            <a:ext cx="4548068" cy="677108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4400" dirty="0"/>
              <a:t>Knowledge Check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32B3B18-CA76-BE76-AFCE-465201C6BCE8}"/>
              </a:ext>
            </a:extLst>
          </p:cNvPr>
          <p:cNvGrpSpPr/>
          <p:nvPr/>
        </p:nvGrpSpPr>
        <p:grpSpPr>
          <a:xfrm>
            <a:off x="3825115" y="516429"/>
            <a:ext cx="4548068" cy="1062152"/>
            <a:chOff x="3825115" y="516429"/>
            <a:chExt cx="4548068" cy="1062152"/>
          </a:xfrm>
        </p:grpSpPr>
        <p:sp>
          <p:nvSpPr>
            <p:cNvPr id="4" name="Text Placeholder 1">
              <a:extLst>
                <a:ext uri="{FF2B5EF4-FFF2-40B4-BE49-F238E27FC236}">
                  <a16:creationId xmlns:a16="http://schemas.microsoft.com/office/drawing/2014/main" id="{F4539750-96A4-88EE-715A-7B20B75D2B4D}"/>
                </a:ext>
              </a:extLst>
            </p:cNvPr>
            <p:cNvSpPr txBox="1">
              <a:spLocks/>
            </p:cNvSpPr>
            <p:nvPr/>
          </p:nvSpPr>
          <p:spPr>
            <a:xfrm>
              <a:off x="4709287" y="516429"/>
              <a:ext cx="1570601" cy="498598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2400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5" name="Title 3">
              <a:extLst>
                <a:ext uri="{FF2B5EF4-FFF2-40B4-BE49-F238E27FC236}">
                  <a16:creationId xmlns:a16="http://schemas.microsoft.com/office/drawing/2014/main" id="{0CD3071C-EF9A-160C-193E-CD22B9307112}"/>
                </a:ext>
              </a:extLst>
            </p:cNvPr>
            <p:cNvSpPr txBox="1">
              <a:spLocks/>
            </p:cNvSpPr>
            <p:nvPr/>
          </p:nvSpPr>
          <p:spPr>
            <a:xfrm>
              <a:off x="4444791" y="1015027"/>
              <a:ext cx="3928392" cy="4985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cap="none" dirty="0">
                  <a:solidFill>
                    <a:srgbClr val="FED112"/>
                  </a:solidFill>
                </a:rPr>
                <a:t>Power BI </a:t>
              </a:r>
              <a:r>
                <a:rPr lang="en-US" sz="2800" cap="none" dirty="0">
                  <a:solidFill>
                    <a:schemeClr val="tx1"/>
                  </a:solidFill>
                </a:rPr>
                <a:t>Training</a:t>
              </a:r>
              <a:endParaRPr lang="en-US" sz="2800" dirty="0">
                <a:solidFill>
                  <a:schemeClr val="tx1"/>
                </a:solidFill>
              </a:endParaRPr>
            </a:p>
          </p:txBody>
        </p:sp>
        <p:pic>
          <p:nvPicPr>
            <p:cNvPr id="6" name="Picture 5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F1C8179E-833E-6A63-9CD8-006084751C6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25115" y="950072"/>
              <a:ext cx="943368" cy="6285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132820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6566A0-9C80-E89C-14C8-4C39C185E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3356" y="2360165"/>
            <a:ext cx="2590799" cy="498598"/>
          </a:xfrm>
        </p:spPr>
        <p:txBody>
          <a:bodyPr/>
          <a:lstStyle/>
          <a:p>
            <a:r>
              <a:rPr lang="en-US" cap="none" dirty="0">
                <a:latin typeface="Segoe UI Semibold" panose="020B0702040204020203" pitchFamily="34" charset="0"/>
              </a:rPr>
              <a:t>Module 1</a:t>
            </a:r>
            <a:endParaRPr lang="en-US" cap="non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47C03D-4EE7-5C3E-845B-DBDED40F8D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25115" y="2858763"/>
            <a:ext cx="4548068" cy="889539"/>
          </a:xfrm>
        </p:spPr>
        <p:txBody>
          <a:bodyPr/>
          <a:lstStyle/>
          <a:p>
            <a:r>
              <a:rPr lang="en-US" sz="4400" dirty="0"/>
              <a:t>Demonstra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364D75B-1B87-5687-157F-0CA8F48133D7}"/>
              </a:ext>
            </a:extLst>
          </p:cNvPr>
          <p:cNvGrpSpPr/>
          <p:nvPr/>
        </p:nvGrpSpPr>
        <p:grpSpPr>
          <a:xfrm>
            <a:off x="3825115" y="516429"/>
            <a:ext cx="4548068" cy="1062152"/>
            <a:chOff x="3825115" y="516429"/>
            <a:chExt cx="4548068" cy="1062152"/>
          </a:xfrm>
        </p:grpSpPr>
        <p:sp>
          <p:nvSpPr>
            <p:cNvPr id="8" name="Text Placeholder 1">
              <a:extLst>
                <a:ext uri="{FF2B5EF4-FFF2-40B4-BE49-F238E27FC236}">
                  <a16:creationId xmlns:a16="http://schemas.microsoft.com/office/drawing/2014/main" id="{10836EA4-047D-5360-6970-88848D530EB3}"/>
                </a:ext>
              </a:extLst>
            </p:cNvPr>
            <p:cNvSpPr txBox="1">
              <a:spLocks/>
            </p:cNvSpPr>
            <p:nvPr/>
          </p:nvSpPr>
          <p:spPr>
            <a:xfrm>
              <a:off x="4709287" y="516429"/>
              <a:ext cx="1570601" cy="498598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2400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9" name="Title 3">
              <a:extLst>
                <a:ext uri="{FF2B5EF4-FFF2-40B4-BE49-F238E27FC236}">
                  <a16:creationId xmlns:a16="http://schemas.microsoft.com/office/drawing/2014/main" id="{56BFF73F-5A37-4BC8-019F-6A8097A74AAC}"/>
                </a:ext>
              </a:extLst>
            </p:cNvPr>
            <p:cNvSpPr txBox="1">
              <a:spLocks/>
            </p:cNvSpPr>
            <p:nvPr/>
          </p:nvSpPr>
          <p:spPr>
            <a:xfrm>
              <a:off x="4444791" y="1015027"/>
              <a:ext cx="3928392" cy="4985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cap="none" dirty="0">
                  <a:solidFill>
                    <a:srgbClr val="FED112"/>
                  </a:solidFill>
                </a:rPr>
                <a:t>Power BI </a:t>
              </a:r>
              <a:r>
                <a:rPr lang="en-US" sz="2800" cap="none" dirty="0">
                  <a:solidFill>
                    <a:schemeClr val="tx1"/>
                  </a:solidFill>
                </a:rPr>
                <a:t>Training</a:t>
              </a:r>
              <a:endParaRPr lang="en-US" sz="2800" dirty="0">
                <a:solidFill>
                  <a:schemeClr val="tx1"/>
                </a:solidFill>
              </a:endParaRPr>
            </a:p>
          </p:txBody>
        </p:sp>
        <p:pic>
          <p:nvPicPr>
            <p:cNvPr id="10" name="Picture 9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549E3E53-7AF6-0DBC-4FD2-D632774E34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25115" y="950072"/>
              <a:ext cx="943368" cy="6285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4808849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E1E01D56-0CD5-4638-836B-F57EB9AA5312}"/>
              </a:ext>
            </a:extLst>
          </p:cNvPr>
          <p:cNvSpPr txBox="1">
            <a:spLocks/>
          </p:cNvSpPr>
          <p:nvPr/>
        </p:nvSpPr>
        <p:spPr>
          <a:xfrm>
            <a:off x="9677400" y="6637020"/>
            <a:ext cx="2842260" cy="22098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defPPr>
              <a:defRPr lang="en-US"/>
            </a:defPPr>
            <a:lvl1pPr marL="0" algn="ctr" defTabSz="914367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1000" kern="1200" dirty="0" smtClean="0">
                <a:solidFill>
                  <a:srgbClr val="50505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dirty="0"/>
              <a:t>© 2021 Microsoft All rights reserved.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1F9F411-4402-4D1E-8F8B-469987EF8C0C}"/>
              </a:ext>
            </a:extLst>
          </p:cNvPr>
          <p:cNvSpPr txBox="1"/>
          <p:nvPr/>
        </p:nvSpPr>
        <p:spPr>
          <a:xfrm>
            <a:off x="83820" y="6637020"/>
            <a:ext cx="2019300" cy="220980"/>
          </a:xfrm>
          <a:prstGeom prst="rect">
            <a:avLst/>
          </a:prstGeom>
          <a:solidFill>
            <a:schemeClr val="bg1"/>
          </a:solidFill>
        </p:spPr>
        <p:txBody>
          <a:bodyPr wrap="square" lIns="182880" tIns="146304" rIns="182880" bIns="146304" rtlCol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E7E948F-D6DF-4155-884B-01C1E710D7B9}"/>
              </a:ext>
            </a:extLst>
          </p:cNvPr>
          <p:cNvSpPr/>
          <p:nvPr/>
        </p:nvSpPr>
        <p:spPr>
          <a:xfrm>
            <a:off x="916756" y="1377841"/>
            <a:ext cx="11037454" cy="6237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20000"/>
              </a:lnSpc>
              <a:spcAft>
                <a:spcPts val="1800"/>
              </a:spcAft>
              <a:buFont typeface="+mj-lt"/>
              <a:buAutoNum type="arabicPeriod"/>
            </a:pPr>
            <a:r>
              <a:rPr lang="en-US" sz="2000" b="0" i="0" dirty="0">
                <a:solidFill>
                  <a:srgbClr val="000000"/>
                </a:solidFill>
                <a:effectLst/>
              </a:rPr>
              <a:t>What does the Transpose transformation do?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US" dirty="0"/>
              <a:t>Convert selected rows to column headers</a:t>
            </a:r>
            <a:endParaRPr lang="en-US" dirty="0">
              <a:solidFill>
                <a:schemeClr val="tx1"/>
              </a:solidFill>
              <a:latin typeface="+mn-lt"/>
            </a:endParaRPr>
          </a:p>
          <a:p>
            <a:pPr marL="800100" lvl="1" indent="-342900">
              <a:buFont typeface="+mj-lt"/>
              <a:buAutoNum type="alphaLcPeriod"/>
            </a:pPr>
            <a:r>
              <a:rPr lang="en-US" dirty="0">
                <a:solidFill>
                  <a:schemeClr val="tx1"/>
                </a:solidFill>
                <a:latin typeface="+mn-lt"/>
              </a:rPr>
              <a:t>Convert columns to rows, and rows to columns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US" b="0" i="0" dirty="0">
                <a:effectLst/>
              </a:rPr>
              <a:t>Convert column headers into values</a:t>
            </a:r>
          </a:p>
          <a:p>
            <a:pPr lvl="1"/>
            <a:endParaRPr lang="en-US" b="0" i="0" dirty="0">
              <a:solidFill>
                <a:srgbClr val="000000"/>
              </a:solidFill>
              <a:effectLst/>
            </a:endParaRPr>
          </a:p>
          <a:p>
            <a:pPr marL="457200" indent="-457200">
              <a:lnSpc>
                <a:spcPct val="120000"/>
              </a:lnSpc>
              <a:spcAft>
                <a:spcPts val="1800"/>
              </a:spcAft>
              <a:buFont typeface="+mj-lt"/>
              <a:buAutoNum type="arabicPeriod"/>
            </a:pPr>
            <a:r>
              <a:rPr lang="en-US" sz="2000" b="0" i="0" dirty="0">
                <a:solidFill>
                  <a:srgbClr val="000000"/>
                </a:solidFill>
                <a:effectLst/>
              </a:rPr>
              <a:t>What does the Append transformation do?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US" dirty="0">
                <a:solidFill>
                  <a:schemeClr val="tx1"/>
                </a:solidFill>
                <a:latin typeface="+mn-lt"/>
              </a:rPr>
              <a:t>Combines two queries based on joined columns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US" dirty="0">
                <a:solidFill>
                  <a:schemeClr val="tx1"/>
                </a:solidFill>
                <a:latin typeface="+mn-lt"/>
              </a:rPr>
              <a:t>Stacks records of two or more queries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US" b="0" i="0" dirty="0">
                <a:effectLst/>
              </a:rPr>
              <a:t>Copies a query at a point in time</a:t>
            </a:r>
          </a:p>
          <a:p>
            <a:pPr lvl="1"/>
            <a:endParaRPr lang="en-US" b="0" i="0" dirty="0">
              <a:solidFill>
                <a:srgbClr val="000000"/>
              </a:solidFill>
              <a:effectLst/>
            </a:endParaRPr>
          </a:p>
          <a:p>
            <a:pPr marL="457200" indent="-457200">
              <a:lnSpc>
                <a:spcPct val="120000"/>
              </a:lnSpc>
              <a:spcAft>
                <a:spcPts val="1800"/>
              </a:spcAft>
              <a:buFont typeface="+mj-lt"/>
              <a:buAutoNum type="arabicPeriod"/>
            </a:pPr>
            <a:r>
              <a:rPr lang="en-US" sz="2000" b="0" i="0" dirty="0">
                <a:solidFill>
                  <a:srgbClr val="000000"/>
                </a:solidFill>
                <a:effectLst/>
              </a:rPr>
              <a:t>Which is the best way to add a table on the fly?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US" dirty="0">
                <a:solidFill>
                  <a:schemeClr val="tx1"/>
                </a:solidFill>
                <a:latin typeface="+mn-lt"/>
              </a:rPr>
              <a:t>Use Enter Data from the ribbon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US" dirty="0">
                <a:solidFill>
                  <a:schemeClr val="tx1"/>
                </a:solidFill>
                <a:latin typeface="+mn-lt"/>
              </a:rPr>
              <a:t>Write a new SQL statement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US" b="0" i="0" dirty="0">
                <a:effectLst/>
              </a:rPr>
              <a:t>Import an additional table</a:t>
            </a:r>
            <a:endParaRPr lang="en-US" b="0" i="0" dirty="0">
              <a:solidFill>
                <a:srgbClr val="000000"/>
              </a:solidFill>
              <a:effectLst/>
            </a:endParaRPr>
          </a:p>
          <a:p>
            <a:pPr>
              <a:lnSpc>
                <a:spcPct val="120000"/>
              </a:lnSpc>
              <a:spcAft>
                <a:spcPts val="1800"/>
              </a:spcAft>
            </a:pPr>
            <a:endParaRPr lang="en-US" sz="2400" dirty="0">
              <a:solidFill>
                <a:schemeClr val="tx1">
                  <a:lumMod val="50000"/>
                </a:schemeClr>
              </a:solidFill>
            </a:endParaRPr>
          </a:p>
          <a:p>
            <a:pPr>
              <a:lnSpc>
                <a:spcPct val="120000"/>
              </a:lnSpc>
            </a:pPr>
            <a:endParaRPr lang="en-US" sz="2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07B2DBF-D127-9DAD-2971-0276FEA011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cap="none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dule 4 Knowledge Check Questions</a:t>
            </a:r>
            <a:br>
              <a:rPr lang="en-US" sz="2800" cap="none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2800" cap="non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1012220"/>
      </p:ext>
    </p:extLst>
  </p:cSld>
  <p:clrMapOvr>
    <a:masterClrMapping/>
  </p:clrMapOvr>
  <p:transition>
    <p:fade/>
  </p:transition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6566A0-9C80-E89C-14C8-4C39C185E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5115" y="2027598"/>
            <a:ext cx="4548067" cy="498598"/>
          </a:xfrm>
        </p:spPr>
        <p:txBody>
          <a:bodyPr/>
          <a:lstStyle/>
          <a:p>
            <a:r>
              <a:rPr lang="en-US" cap="none" dirty="0">
                <a:latin typeface="+mn-lt"/>
              </a:rPr>
              <a:t>Module 5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47C03D-4EE7-5C3E-845B-DBDED40F8D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26180" y="3089750"/>
            <a:ext cx="4647003" cy="1538883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3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Calculated Column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8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v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3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Calculated Measures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364D75B-1B87-5687-157F-0CA8F48133D7}"/>
              </a:ext>
            </a:extLst>
          </p:cNvPr>
          <p:cNvGrpSpPr/>
          <p:nvPr/>
        </p:nvGrpSpPr>
        <p:grpSpPr>
          <a:xfrm>
            <a:off x="3825115" y="516429"/>
            <a:ext cx="4548068" cy="1062152"/>
            <a:chOff x="3825115" y="516429"/>
            <a:chExt cx="4548068" cy="1062152"/>
          </a:xfrm>
        </p:grpSpPr>
        <p:sp>
          <p:nvSpPr>
            <p:cNvPr id="8" name="Text Placeholder 1">
              <a:extLst>
                <a:ext uri="{FF2B5EF4-FFF2-40B4-BE49-F238E27FC236}">
                  <a16:creationId xmlns:a16="http://schemas.microsoft.com/office/drawing/2014/main" id="{10836EA4-047D-5360-6970-88848D530EB3}"/>
                </a:ext>
              </a:extLst>
            </p:cNvPr>
            <p:cNvSpPr txBox="1">
              <a:spLocks/>
            </p:cNvSpPr>
            <p:nvPr/>
          </p:nvSpPr>
          <p:spPr>
            <a:xfrm>
              <a:off x="4709287" y="516429"/>
              <a:ext cx="1570601" cy="498598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2400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9" name="Title 3">
              <a:extLst>
                <a:ext uri="{FF2B5EF4-FFF2-40B4-BE49-F238E27FC236}">
                  <a16:creationId xmlns:a16="http://schemas.microsoft.com/office/drawing/2014/main" id="{56BFF73F-5A37-4BC8-019F-6A8097A74AAC}"/>
                </a:ext>
              </a:extLst>
            </p:cNvPr>
            <p:cNvSpPr txBox="1">
              <a:spLocks/>
            </p:cNvSpPr>
            <p:nvPr/>
          </p:nvSpPr>
          <p:spPr>
            <a:xfrm>
              <a:off x="4444791" y="1015027"/>
              <a:ext cx="3928392" cy="4985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cap="none" dirty="0">
                  <a:solidFill>
                    <a:srgbClr val="FED112"/>
                  </a:solidFill>
                </a:rPr>
                <a:t>Power BI </a:t>
              </a:r>
              <a:r>
                <a:rPr lang="en-US" sz="2800" cap="none" dirty="0">
                  <a:solidFill>
                    <a:schemeClr val="tx1"/>
                  </a:solidFill>
                </a:rPr>
                <a:t>Training</a:t>
              </a:r>
              <a:endParaRPr lang="en-US" sz="2800" dirty="0">
                <a:solidFill>
                  <a:schemeClr val="tx1"/>
                </a:solidFill>
              </a:endParaRPr>
            </a:p>
          </p:txBody>
        </p:sp>
        <p:pic>
          <p:nvPicPr>
            <p:cNvPr id="10" name="Picture 9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549E3E53-7AF6-0DBC-4FD2-D632774E34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25115" y="950072"/>
              <a:ext cx="943368" cy="6285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43999107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52BF5174-5A62-404D-9ABE-D80CCE957486}"/>
              </a:ext>
            </a:extLst>
          </p:cNvPr>
          <p:cNvGraphicFramePr>
            <a:graphicFrameLocks noGrp="1"/>
          </p:cNvGraphicFramePr>
          <p:nvPr/>
        </p:nvGraphicFramePr>
        <p:xfrm>
          <a:off x="1786582" y="4548955"/>
          <a:ext cx="7130870" cy="18491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514742">
                  <a:extLst>
                    <a:ext uri="{9D8B030D-6E8A-4147-A177-3AD203B41FA5}">
                      <a16:colId xmlns:a16="http://schemas.microsoft.com/office/drawing/2014/main" val="3690485077"/>
                    </a:ext>
                  </a:extLst>
                </a:gridCol>
                <a:gridCol w="3616128">
                  <a:extLst>
                    <a:ext uri="{9D8B030D-6E8A-4147-A177-3AD203B41FA5}">
                      <a16:colId xmlns:a16="http://schemas.microsoft.com/office/drawing/2014/main" val="292706074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b="1" dirty="0"/>
                        <a:t>Calculated Colum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b="1" dirty="0"/>
                        <a:t>Calculated Measures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29957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nl-NL" sz="18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Computed during data refresh </a:t>
                      </a:r>
                      <a:endParaRPr kumimoji="0" lang="nl-NL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>
                          <a:solidFill>
                            <a:schemeClr val="tx1"/>
                          </a:solidFill>
                        </a:rPr>
                        <a:t>Computed when measure is used</a:t>
                      </a:r>
                      <a:endParaRPr lang="en-US" dirty="0">
                        <a:solidFill>
                          <a:schemeClr val="tx1"/>
                        </a:solidFill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38566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nl-NL" sz="18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Belong to Table </a:t>
                      </a:r>
                      <a:endParaRPr kumimoji="0" lang="nl-NL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>
                          <a:solidFill>
                            <a:schemeClr val="tx1"/>
                          </a:solidFill>
                        </a:rPr>
                        <a:t>Belong to Data Model</a:t>
                      </a:r>
                      <a:endParaRPr lang="nl-NL" dirty="0">
                        <a:solidFill>
                          <a:schemeClr val="tx1"/>
                        </a:solidFill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08785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nl-NL" sz="18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Stored in </a:t>
                      </a:r>
                      <a:r>
                        <a:rPr lang="nl-NL" dirty="0">
                          <a:solidFill>
                            <a:schemeClr val="tx1"/>
                          </a:solidFill>
                        </a:rPr>
                        <a:t>Data Model</a:t>
                      </a:r>
                      <a:endParaRPr kumimoji="0" lang="nl-NL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>
                          <a:solidFill>
                            <a:schemeClr val="tx1"/>
                          </a:solidFill>
                        </a:rPr>
                        <a:t>Not stored; Formula only</a:t>
                      </a:r>
                      <a:endParaRPr lang="nl-NL" dirty="0">
                        <a:solidFill>
                          <a:schemeClr val="tx1"/>
                        </a:solidFill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977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nl-NL" sz="18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Operate on current row context</a:t>
                      </a:r>
                      <a:endParaRPr kumimoji="0" lang="nl-NL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>
                          <a:solidFill>
                            <a:schemeClr val="tx1"/>
                          </a:solidFill>
                        </a:rPr>
                        <a:t>Operate on current filter context</a:t>
                      </a:r>
                      <a:endParaRPr lang="en-US" dirty="0">
                        <a:solidFill>
                          <a:schemeClr val="tx1"/>
                        </a:solidFill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3300110"/>
                  </a:ext>
                </a:extLst>
              </a:tr>
            </a:tbl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EC6818FF-12FA-5A3F-4146-4737121D797A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nl-NL" sz="3200" kern="1200" cap="none" dirty="0">
                <a:solidFill>
                  <a:srgbClr val="000000"/>
                </a:solidFill>
                <a:effectLst/>
                <a:latin typeface="Segoe UI Semibold" panose="020B0702040204020203" pitchFamily="34" charset="0"/>
                <a:cs typeface="Segoe UI Semibold" panose="020B0702040204020203" pitchFamily="34" charset="0"/>
              </a:rPr>
              <a:t>Calculated Column </a:t>
            </a:r>
            <a:r>
              <a:rPr lang="nl-NL" kern="1200" cap="none" dirty="0">
                <a:solidFill>
                  <a:srgbClr val="000000"/>
                </a:solidFill>
                <a:effectLst/>
                <a:latin typeface="Segoe UI Semibold" panose="020B0702040204020203" pitchFamily="34" charset="0"/>
                <a:cs typeface="Segoe UI Semibold" panose="020B0702040204020203" pitchFamily="34" charset="0"/>
              </a:rPr>
              <a:t>vs.</a:t>
            </a:r>
            <a:r>
              <a:rPr lang="nl-NL" sz="1800" kern="1200" cap="none" dirty="0">
                <a:solidFill>
                  <a:srgbClr val="000000"/>
                </a:solidFill>
                <a:effectLst/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nl-NL" sz="3200" cap="none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alculated Measures  </a:t>
            </a:r>
            <a:endParaRPr lang="en-US" sz="3200" cap="none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C5A6ACA-2CAC-7BB7-20E1-2014DF0EC71D}"/>
              </a:ext>
            </a:extLst>
          </p:cNvPr>
          <p:cNvSpPr txBox="1">
            <a:spLocks/>
          </p:cNvSpPr>
          <p:nvPr/>
        </p:nvSpPr>
        <p:spPr>
          <a:xfrm>
            <a:off x="814552" y="1223551"/>
            <a:ext cx="11655425" cy="4135581"/>
          </a:xfrm>
        </p:spPr>
        <p:txBody>
          <a:bodyPr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US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Calculated Column 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values are calculated for each row and are stored in the model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  <a:sym typeface="Wingdings" panose="05000000000000000000" pitchFamily="2" charset="2"/>
              </a:rPr>
              <a:t>They require little virtual memory when user interacts with the report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  <a:sym typeface="Wingdings" panose="05000000000000000000" pitchFamily="2" charset="2"/>
              </a:rPr>
              <a:t>However, a</a:t>
            </a: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void creating them if you want to reduce the model size</a:t>
            </a:r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742950" lvl="1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5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Whenever possible, create calculated column in: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The Dim Table; the table with the h</a:t>
            </a:r>
            <a:r>
              <a:rPr lang="en-US" sz="1600" dirty="0"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ighest level of granularity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In M language (in the Query Editor) as they consume more RAM when calculated in DAX</a:t>
            </a:r>
          </a:p>
          <a:p>
            <a:pPr marL="1257300" lvl="2" indent="-342900">
              <a:lnSpc>
                <a:spcPct val="110000"/>
              </a:lnSpc>
              <a:spcBef>
                <a:spcPts val="600"/>
              </a:spcBef>
              <a:buFontTx/>
              <a:buChar char="-"/>
            </a:pPr>
            <a:endParaRPr lang="en-US" sz="600" dirty="0">
              <a:latin typeface="Segoe UI Light" panose="020B0502040204020203" pitchFamily="34" charset="0"/>
              <a:ea typeface="Times New Roman" panose="02020603050405020304" pitchFamily="18" charset="0"/>
              <a:cs typeface="Segoe UI Light" panose="020B0502040204020203" pitchFamily="34" charset="0"/>
            </a:endParaRPr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US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Calculated Measures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 are aggregation and not stored in the model</a:t>
            </a:r>
          </a:p>
          <a:p>
            <a:pPr lvl="1">
              <a:lnSpc>
                <a:spcPct val="110000"/>
              </a:lnSpc>
              <a:spcBef>
                <a:spcPts val="600"/>
              </a:spcBef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  <a:sym typeface="Wingdings" panose="05000000000000000000" pitchFamily="2" charset="2"/>
              </a:rPr>
              <a:t> </a:t>
            </a: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  <a:sym typeface="Wingdings" panose="05000000000000000000" pitchFamily="2" charset="2"/>
              </a:rPr>
              <a:t>Faster calculation but uses more processing power to execute a time of query</a:t>
            </a:r>
            <a:endParaRPr lang="en-US" sz="1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en-US" sz="20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en-US" sz="20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5646689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C6818FF-12FA-5A3F-4146-4737121D797A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nl-NL" sz="3200" kern="1200" cap="none" dirty="0">
                <a:solidFill>
                  <a:srgbClr val="000000"/>
                </a:solidFill>
                <a:effectLst/>
                <a:latin typeface="Segoe UI Semibold" panose="020B0702040204020203" pitchFamily="34" charset="0"/>
                <a:cs typeface="Segoe UI Semibold" panose="020B0702040204020203" pitchFamily="34" charset="0"/>
              </a:rPr>
              <a:t>Calculated Column </a:t>
            </a:r>
            <a:r>
              <a:rPr lang="nl-NL" kern="1200" cap="none" dirty="0">
                <a:solidFill>
                  <a:srgbClr val="000000"/>
                </a:solidFill>
                <a:effectLst/>
                <a:latin typeface="Segoe UI Semibold" panose="020B0702040204020203" pitchFamily="34" charset="0"/>
                <a:cs typeface="Segoe UI Semibold" panose="020B0702040204020203" pitchFamily="34" charset="0"/>
              </a:rPr>
              <a:t>VS.</a:t>
            </a:r>
            <a:r>
              <a:rPr lang="nl-NL" sz="1800" kern="1200" cap="none" dirty="0">
                <a:solidFill>
                  <a:srgbClr val="000000"/>
                </a:solidFill>
                <a:effectLst/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nl-NL" sz="3200" cap="none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alculated Measures  </a:t>
            </a:r>
            <a:endParaRPr lang="en-US" sz="3200" cap="none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7D4C0CC-DC81-6E0A-06A9-ABEC76D5A0B2}"/>
              </a:ext>
            </a:extLst>
          </p:cNvPr>
          <p:cNvGraphicFramePr>
            <a:graphicFrameLocks noGrp="1"/>
          </p:cNvGraphicFramePr>
          <p:nvPr/>
        </p:nvGraphicFramePr>
        <p:xfrm>
          <a:off x="975276" y="1401776"/>
          <a:ext cx="9154435" cy="301989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313305">
                  <a:extLst>
                    <a:ext uri="{9D8B030D-6E8A-4147-A177-3AD203B41FA5}">
                      <a16:colId xmlns:a16="http://schemas.microsoft.com/office/drawing/2014/main" val="487937925"/>
                    </a:ext>
                  </a:extLst>
                </a:gridCol>
                <a:gridCol w="6841130">
                  <a:extLst>
                    <a:ext uri="{9D8B030D-6E8A-4147-A177-3AD203B41FA5}">
                      <a16:colId xmlns:a16="http://schemas.microsoft.com/office/drawing/2014/main" val="36904850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2000" b="1" dirty="0"/>
                        <a:t>Use</a:t>
                      </a:r>
                      <a:endParaRPr lang="nl-NL" sz="2000" b="1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2000" b="1" dirty="0"/>
                        <a:t>When you want to</a:t>
                      </a:r>
                      <a:endParaRPr lang="nl-NL" sz="2000" b="1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29957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l-NL" b="0" dirty="0">
                          <a:solidFill>
                            <a:schemeClr val="tx1"/>
                          </a:solidFill>
                        </a:rPr>
                        <a:t>Calculated Measures</a:t>
                      </a:r>
                      <a:endParaRPr lang="en-US" b="0" dirty="0">
                        <a:solidFill>
                          <a:schemeClr val="tx1"/>
                        </a:solidFill>
                        <a:latin typeface="+mn-lt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nl-NL" sz="18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Calculate aggregate values</a:t>
                      </a:r>
                      <a:endParaRPr kumimoji="0" lang="nl-NL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38566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nl-NL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8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Reflect the filters selections in calculation result</a:t>
                      </a:r>
                      <a:endParaRPr kumimoji="0" lang="nl-NL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0878546"/>
                  </a:ext>
                </a:extLst>
              </a:tr>
              <a:tr h="38472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nl-NL" sz="1800" b="0" dirty="0">
                        <a:solidFill>
                          <a:schemeClr val="tx1"/>
                        </a:solidFill>
                        <a:latin typeface="+mn-lt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nl-NL" sz="18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Reduce model size (to minimize number of calculated columns)</a:t>
                      </a:r>
                      <a:endParaRPr kumimoji="0" lang="nl-NL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9813770"/>
                  </a:ext>
                </a:extLst>
              </a:tr>
              <a:tr h="38472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l-NL" sz="1800" b="0" dirty="0">
                          <a:solidFill>
                            <a:schemeClr val="tx1"/>
                          </a:solidFill>
                        </a:rPr>
                        <a:t>Calculated Columns</a:t>
                      </a:r>
                      <a:endParaRPr lang="nl-NL" sz="1800" b="0" dirty="0">
                        <a:solidFill>
                          <a:schemeClr val="tx1"/>
                        </a:solidFill>
                        <a:latin typeface="+mn-lt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l-NL" sz="1800" dirty="0">
                          <a:solidFill>
                            <a:schemeClr val="tx1"/>
                          </a:solidFill>
                        </a:rPr>
                        <a:t>Define an expression strictly useful on row level</a:t>
                      </a:r>
                      <a:endParaRPr kumimoji="0" lang="nl-NL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56001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nl-NL" sz="1800" b="0" dirty="0">
                        <a:solidFill>
                          <a:schemeClr val="tx1"/>
                        </a:solidFill>
                        <a:latin typeface="+mn-lt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l-NL" sz="1800" dirty="0">
                          <a:solidFill>
                            <a:schemeClr val="tx1"/>
                          </a:solidFill>
                        </a:rPr>
                        <a:t>Use the result of a calculation in a slicer</a:t>
                      </a:r>
                      <a:endParaRPr kumimoji="0" lang="nl-NL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29172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nl-NL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l-NL" sz="1800" dirty="0">
                          <a:solidFill>
                            <a:schemeClr val="tx1"/>
                          </a:solidFill>
                        </a:rPr>
                        <a:t>Create categories</a:t>
                      </a:r>
                      <a:endParaRPr lang="nl-NL" sz="1800" dirty="0">
                        <a:solidFill>
                          <a:schemeClr val="tx1"/>
                        </a:solidFill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977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b="0" dirty="0">
                        <a:solidFill>
                          <a:schemeClr val="tx1"/>
                        </a:solidFill>
                        <a:latin typeface="+mn-lt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nl-NL" sz="18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High re-use of metrics</a:t>
                      </a:r>
                      <a:endParaRPr kumimoji="0" lang="nl-NL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33001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2255348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6566A0-9C80-E89C-14C8-4C39C185E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5115" y="2027598"/>
            <a:ext cx="4548067" cy="498598"/>
          </a:xfrm>
        </p:spPr>
        <p:txBody>
          <a:bodyPr/>
          <a:lstStyle/>
          <a:p>
            <a:r>
              <a:rPr lang="en-US" cap="none" dirty="0">
                <a:latin typeface="+mn-lt"/>
              </a:rPr>
              <a:t>Module 6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47C03D-4EE7-5C3E-845B-DBDED40F8D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26180" y="3089750"/>
            <a:ext cx="4647003" cy="1846659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4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Power BI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4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Performance Factor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364D75B-1B87-5687-157F-0CA8F48133D7}"/>
              </a:ext>
            </a:extLst>
          </p:cNvPr>
          <p:cNvGrpSpPr/>
          <p:nvPr/>
        </p:nvGrpSpPr>
        <p:grpSpPr>
          <a:xfrm>
            <a:off x="3825115" y="516429"/>
            <a:ext cx="4548068" cy="1062152"/>
            <a:chOff x="3825115" y="516429"/>
            <a:chExt cx="4548068" cy="1062152"/>
          </a:xfrm>
        </p:grpSpPr>
        <p:sp>
          <p:nvSpPr>
            <p:cNvPr id="8" name="Text Placeholder 1">
              <a:extLst>
                <a:ext uri="{FF2B5EF4-FFF2-40B4-BE49-F238E27FC236}">
                  <a16:creationId xmlns:a16="http://schemas.microsoft.com/office/drawing/2014/main" id="{10836EA4-047D-5360-6970-88848D530EB3}"/>
                </a:ext>
              </a:extLst>
            </p:cNvPr>
            <p:cNvSpPr txBox="1">
              <a:spLocks/>
            </p:cNvSpPr>
            <p:nvPr/>
          </p:nvSpPr>
          <p:spPr>
            <a:xfrm>
              <a:off x="4709287" y="516429"/>
              <a:ext cx="1570601" cy="498598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2400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9" name="Title 3">
              <a:extLst>
                <a:ext uri="{FF2B5EF4-FFF2-40B4-BE49-F238E27FC236}">
                  <a16:creationId xmlns:a16="http://schemas.microsoft.com/office/drawing/2014/main" id="{56BFF73F-5A37-4BC8-019F-6A8097A74AAC}"/>
                </a:ext>
              </a:extLst>
            </p:cNvPr>
            <p:cNvSpPr txBox="1">
              <a:spLocks/>
            </p:cNvSpPr>
            <p:nvPr/>
          </p:nvSpPr>
          <p:spPr>
            <a:xfrm>
              <a:off x="4444791" y="1015027"/>
              <a:ext cx="3928392" cy="4985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cap="none" dirty="0">
                  <a:solidFill>
                    <a:srgbClr val="FED112"/>
                  </a:solidFill>
                </a:rPr>
                <a:t>Power BI </a:t>
              </a:r>
              <a:r>
                <a:rPr lang="en-US" sz="2800" cap="none" dirty="0">
                  <a:solidFill>
                    <a:schemeClr val="tx1"/>
                  </a:solidFill>
                </a:rPr>
                <a:t>Training</a:t>
              </a:r>
              <a:endParaRPr lang="en-US" sz="2800" dirty="0">
                <a:solidFill>
                  <a:schemeClr val="tx1"/>
                </a:solidFill>
              </a:endParaRPr>
            </a:p>
          </p:txBody>
        </p:sp>
        <p:pic>
          <p:nvPicPr>
            <p:cNvPr id="10" name="Picture 9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549E3E53-7AF6-0DBC-4FD2-D632774E34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25115" y="950072"/>
              <a:ext cx="943368" cy="6285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27139321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84B9BB-19A0-BE5C-F1E3-A311076B7E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3787" y="1486932"/>
            <a:ext cx="5112940" cy="412454"/>
          </a:xfrm>
        </p:spPr>
        <p:txBody>
          <a:bodyPr/>
          <a:lstStyle/>
          <a:p>
            <a:r>
              <a:rPr lang="en-US" sz="4000" cap="none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Module 6 Objectives</a:t>
            </a:r>
            <a:endParaRPr lang="en-US" sz="3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9993C53-22D6-F442-B069-E417B6BA826F}"/>
              </a:ext>
            </a:extLst>
          </p:cNvPr>
          <p:cNvSpPr/>
          <p:nvPr/>
        </p:nvSpPr>
        <p:spPr>
          <a:xfrm>
            <a:off x="3483787" y="2516489"/>
            <a:ext cx="7725233" cy="359381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rstand the factors that influence performanc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rstand the multiple engines that power </a:t>
            </a:r>
            <a:r>
              <a:rPr lang="en-US" sz="2400" dirty="0" err="1">
                <a:solidFill>
                  <a:schemeClr val="tx1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ower</a:t>
            </a:r>
            <a:r>
              <a:rPr lang="en-US" sz="2400" dirty="0">
                <a:solidFill>
                  <a:schemeClr val="tx1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BI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28E01DB-A835-CC34-5A9B-114EF904B7E0}"/>
              </a:ext>
            </a:extLst>
          </p:cNvPr>
          <p:cNvSpPr txBox="1"/>
          <p:nvPr/>
        </p:nvSpPr>
        <p:spPr>
          <a:xfrm>
            <a:off x="34671" y="156722"/>
            <a:ext cx="3449116" cy="16619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cap="none" dirty="0">
                <a:solidFill>
                  <a:schemeClr val="bg1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Power BI</a:t>
            </a:r>
          </a:p>
          <a:p>
            <a:r>
              <a:rPr lang="en-US" sz="3300" cap="none" dirty="0">
                <a:solidFill>
                  <a:schemeClr val="bg1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Performance Factor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B2BF0C8-4CF7-E2BC-6FC7-47DADCA6A0E0}"/>
              </a:ext>
            </a:extLst>
          </p:cNvPr>
          <p:cNvGrpSpPr/>
          <p:nvPr/>
        </p:nvGrpSpPr>
        <p:grpSpPr>
          <a:xfrm>
            <a:off x="10575427" y="130569"/>
            <a:ext cx="1581902" cy="904072"/>
            <a:chOff x="363368" y="-30356"/>
            <a:chExt cx="1581902" cy="904072"/>
          </a:xfrm>
        </p:grpSpPr>
        <p:sp>
          <p:nvSpPr>
            <p:cNvPr id="14" name="Text Placeholder 1">
              <a:extLst>
                <a:ext uri="{FF2B5EF4-FFF2-40B4-BE49-F238E27FC236}">
                  <a16:creationId xmlns:a16="http://schemas.microsoft.com/office/drawing/2014/main" id="{2B72BDF7-0754-1DD5-D1E2-F947303BD4EC}"/>
                </a:ext>
              </a:extLst>
            </p:cNvPr>
            <p:cNvSpPr txBox="1">
              <a:spLocks/>
            </p:cNvSpPr>
            <p:nvPr/>
          </p:nvSpPr>
          <p:spPr>
            <a:xfrm>
              <a:off x="439156" y="-30356"/>
              <a:ext cx="1071837" cy="318962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15" name="Title 3">
              <a:extLst>
                <a:ext uri="{FF2B5EF4-FFF2-40B4-BE49-F238E27FC236}">
                  <a16:creationId xmlns:a16="http://schemas.microsoft.com/office/drawing/2014/main" id="{BDF407BC-2A45-AD86-A244-3912BDEAFA0D}"/>
                </a:ext>
              </a:extLst>
            </p:cNvPr>
            <p:cNvSpPr txBox="1">
              <a:spLocks/>
            </p:cNvSpPr>
            <p:nvPr/>
          </p:nvSpPr>
          <p:spPr>
            <a:xfrm>
              <a:off x="569537" y="318963"/>
              <a:ext cx="1375733" cy="24929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sz="1800" cap="none" dirty="0">
                  <a:solidFill>
                    <a:srgbClr val="FED112"/>
                  </a:solidFill>
                </a:rPr>
                <a:t>Power BI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16" name="Picture 15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B23D77F0-B3F9-F586-8106-36CFE2ECE86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368" y="323903"/>
              <a:ext cx="412338" cy="274716"/>
            </a:xfrm>
            <a:prstGeom prst="rect">
              <a:avLst/>
            </a:prstGeom>
          </p:spPr>
        </p:pic>
        <p:sp>
          <p:nvSpPr>
            <p:cNvPr id="17" name="Text Placeholder 1">
              <a:extLst>
                <a:ext uri="{FF2B5EF4-FFF2-40B4-BE49-F238E27FC236}">
                  <a16:creationId xmlns:a16="http://schemas.microsoft.com/office/drawing/2014/main" id="{37F06975-C7F6-669F-F926-67336F89042C}"/>
                </a:ext>
              </a:extLst>
            </p:cNvPr>
            <p:cNvSpPr txBox="1">
              <a:spLocks/>
            </p:cNvSpPr>
            <p:nvPr/>
          </p:nvSpPr>
          <p:spPr>
            <a:xfrm>
              <a:off x="793705" y="461261"/>
              <a:ext cx="1151565" cy="412455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8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Segoe UI Semibold" panose="020B0702040204020203" pitchFamily="34" charset="0"/>
                </a:rPr>
                <a:t>Train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6736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294D1A3-D630-8414-E9AA-4CA5529577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7921" y="1253330"/>
            <a:ext cx="10270415" cy="5160721"/>
          </a:xfrm>
        </p:spPr>
        <p:txBody>
          <a:bodyPr/>
          <a:lstStyle/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The good performance of a Power BI report essentially hinges on the following factors:</a:t>
            </a: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srgbClr val="2E2E2E"/>
              </a:solidFill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 marL="860419" lvl="2" indent="-285750">
              <a:lnSpc>
                <a:spcPct val="150000"/>
              </a:lnSpc>
              <a:spcBef>
                <a:spcPts val="0"/>
              </a:spcBef>
            </a:pPr>
            <a:r>
              <a:rPr lang="en-US" sz="1800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Network Latency</a:t>
            </a:r>
            <a:endParaRPr lang="en-US" sz="1800" dirty="0"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 marL="860419" lvl="2" indent="-285750">
              <a:lnSpc>
                <a:spcPct val="150000"/>
              </a:lnSpc>
              <a:spcBef>
                <a:spcPts val="0"/>
              </a:spcBef>
            </a:pPr>
            <a:r>
              <a:rPr lang="en-US" sz="1800" dirty="0">
                <a:solidFill>
                  <a:srgbClr val="2E2E2E"/>
                </a:solidFill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Power BI Licensing tier</a:t>
            </a:r>
            <a:endParaRPr lang="en-US" sz="1800" dirty="0">
              <a:effectLst/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 marL="860419" lvl="2" indent="-285750">
              <a:lnSpc>
                <a:spcPct val="150000"/>
              </a:lnSpc>
              <a:spcBef>
                <a:spcPts val="0"/>
              </a:spcBef>
            </a:pPr>
            <a:r>
              <a:rPr lang="en-US" sz="1800" dirty="0">
                <a:solidFill>
                  <a:srgbClr val="2E2E2E"/>
                </a:solidFill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Number of (simultaneous) users</a:t>
            </a:r>
          </a:p>
          <a:p>
            <a:pPr marL="860419" lvl="2" indent="-285750">
              <a:lnSpc>
                <a:spcPct val="150000"/>
              </a:lnSpc>
              <a:spcBef>
                <a:spcPts val="0"/>
              </a:spcBef>
            </a:pPr>
            <a:r>
              <a:rPr lang="en-US" sz="1800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Row Level Security</a:t>
            </a:r>
            <a:endParaRPr lang="en-US" sz="1800" dirty="0"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 marL="860419" lvl="2" indent="-285750">
              <a:lnSpc>
                <a:spcPct val="150000"/>
              </a:lnSpc>
              <a:spcBef>
                <a:spcPts val="0"/>
              </a:spcBef>
            </a:pPr>
            <a:r>
              <a:rPr lang="en-US" sz="1800" dirty="0">
                <a:solidFill>
                  <a:srgbClr val="2E2E2E"/>
                </a:solidFill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Data Source</a:t>
            </a:r>
          </a:p>
          <a:p>
            <a:pPr marL="860419" lvl="2" indent="-285750">
              <a:lnSpc>
                <a:spcPct val="150000"/>
              </a:lnSpc>
              <a:spcBef>
                <a:spcPts val="0"/>
              </a:spcBef>
            </a:pPr>
            <a:r>
              <a:rPr lang="en-US" sz="1800" dirty="0">
                <a:solidFill>
                  <a:srgbClr val="2E2E2E"/>
                </a:solidFill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Data Volumes</a:t>
            </a:r>
            <a:endParaRPr lang="en-US" sz="1800" dirty="0">
              <a:effectLst/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 marL="860419" lvl="2" indent="-285750">
              <a:lnSpc>
                <a:spcPct val="150000"/>
              </a:lnSpc>
              <a:spcBef>
                <a:spcPts val="0"/>
              </a:spcBef>
            </a:pPr>
            <a:r>
              <a:rPr lang="en-US" sz="1800" dirty="0">
                <a:solidFill>
                  <a:srgbClr val="2E2E2E"/>
                </a:solidFill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Storage Mode</a:t>
            </a:r>
          </a:p>
          <a:p>
            <a:pPr marL="860419" lvl="2" indent="-285750">
              <a:lnSpc>
                <a:spcPct val="150000"/>
              </a:lnSpc>
              <a:spcBef>
                <a:spcPts val="0"/>
              </a:spcBef>
            </a:pPr>
            <a:r>
              <a:rPr lang="en-US" sz="1800" dirty="0">
                <a:solidFill>
                  <a:srgbClr val="2E2E2E"/>
                </a:solidFill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Model Design</a:t>
            </a:r>
          </a:p>
          <a:p>
            <a:pPr marL="860419" lvl="2" indent="-285750">
              <a:lnSpc>
                <a:spcPct val="150000"/>
              </a:lnSpc>
              <a:spcBef>
                <a:spcPts val="0"/>
              </a:spcBef>
            </a:pPr>
            <a:r>
              <a:rPr lang="en-US" sz="1800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DAX Calculations</a:t>
            </a:r>
            <a:endParaRPr lang="en-US" sz="1800" dirty="0">
              <a:effectLst/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 marL="860419" lvl="2" indent="-285750">
              <a:lnSpc>
                <a:spcPct val="150000"/>
              </a:lnSpc>
              <a:spcBef>
                <a:spcPts val="0"/>
              </a:spcBef>
            </a:pPr>
            <a:r>
              <a:rPr lang="en-US" sz="1800" dirty="0">
                <a:solidFill>
                  <a:srgbClr val="2E2E2E"/>
                </a:solidFill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Report Design</a:t>
            </a:r>
          </a:p>
          <a:p>
            <a:pPr marL="285750" marR="0" indent="-28575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2E2E2E"/>
              </a:solidFill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800" dirty="0">
              <a:solidFill>
                <a:srgbClr val="2F5496"/>
              </a:solidFill>
              <a:effectLst/>
              <a:latin typeface="Segoe UI Semibold" panose="020B0702040204020203" pitchFamily="34" charset="0"/>
              <a:ea typeface="Calibri" panose="020F0502020204030204" pitchFamily="34" charset="0"/>
              <a:cs typeface="Segoe UI Semibold" panose="020B0702040204020203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800" dirty="0">
              <a:solidFill>
                <a:srgbClr val="2F5496"/>
              </a:solidFill>
              <a:latin typeface="Segoe UI Semibold" panose="020B0702040204020203" pitchFamily="34" charset="0"/>
              <a:ea typeface="Calibri" panose="020F0502020204030204" pitchFamily="34" charset="0"/>
              <a:cs typeface="Segoe UI Semibold" panose="020B0702040204020203" pitchFamily="34" charset="0"/>
            </a:endParaRPr>
          </a:p>
          <a:p>
            <a:pPr lvl="1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1600" dirty="0">
              <a:solidFill>
                <a:srgbClr val="2E2E2E"/>
              </a:solidFill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A287896-B087-E688-B13A-62BE74852C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>
              <a:spcBef>
                <a:spcPts val="200"/>
              </a:spcBef>
              <a:spcAft>
                <a:spcPts val="1200"/>
              </a:spcAft>
            </a:pPr>
            <a:r>
              <a:rPr lang="en-GB" sz="3200" cap="none" dirty="0">
                <a:latin typeface="Segoe UI (Body)"/>
              </a:rPr>
              <a:t>Performance Factors</a:t>
            </a:r>
            <a:endParaRPr lang="en-US" sz="3200" b="1" cap="none" dirty="0">
              <a:solidFill>
                <a:srgbClr val="2F5496"/>
              </a:solidFill>
              <a:effectLst/>
              <a:latin typeface="Segoe UI (Body)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7314D9-5CF2-8F61-AEDB-A83D43F0E8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7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595290"/>
      </p:ext>
    </p:extLst>
  </p:cSld>
  <p:clrMapOvr>
    <a:masterClrMapping/>
  </p:clrMapOvr>
  <p:transition>
    <p:fade/>
  </p:transition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294D1A3-D630-8414-E9AA-4CA5529577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6754" y="1110799"/>
            <a:ext cx="10270415" cy="5160721"/>
          </a:xfrm>
        </p:spPr>
        <p:txBody>
          <a:bodyPr/>
          <a:lstStyle/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The key to delivering scalable, reliable, and high-performing Power BI reports is to create tabular models that</a:t>
            </a: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2E2E2E"/>
              </a:solidFill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 marR="0" lvl="0" algn="ct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2F5496"/>
                </a:solidFill>
                <a:latin typeface="Segoe UI Semibold" panose="020B0702040204020203" pitchFamily="34" charset="0"/>
                <a:ea typeface="Calibri" panose="020F0502020204030204" pitchFamily="34" charset="0"/>
                <a:cs typeface="Segoe UI Semibold" panose="020B0702040204020203" pitchFamily="34" charset="0"/>
              </a:rPr>
              <a:t>Optimize Storage, Memory and Computing Capacity</a:t>
            </a:r>
            <a:r>
              <a:rPr lang="en-US" sz="1400" dirty="0">
                <a:solidFill>
                  <a:srgbClr val="2F5496"/>
                </a:solidFill>
                <a:latin typeface="Segoe UI Semibold" panose="020B0702040204020203" pitchFamily="34" charset="0"/>
                <a:ea typeface="Calibri" panose="020F0502020204030204" pitchFamily="34" charset="0"/>
                <a:cs typeface="Segoe UI Semibold" panose="020B0702040204020203" pitchFamily="34" charset="0"/>
              </a:rPr>
              <a:t>  </a:t>
            </a: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2E2E2E"/>
              </a:solidFill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Analysis Services, Power BI and Excel PowerPivot/Query are powered by the same technology; a Storage Engine and Formula Engine that together help achieve a balance between a model’s size and its performance. </a:t>
            </a: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2E2E2E"/>
              </a:solidFill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 lvl="2">
              <a:lnSpc>
                <a:spcPct val="107000"/>
              </a:lnSpc>
              <a:spcBef>
                <a:spcPts val="0"/>
              </a:spcBef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The formula engine (FE) processes the DAX request, generates the query plan and executes it.</a:t>
            </a:r>
          </a:p>
          <a:p>
            <a:pPr lvl="2">
              <a:lnSpc>
                <a:spcPct val="107000"/>
              </a:lnSpc>
              <a:spcBef>
                <a:spcPts val="0"/>
              </a:spcBef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The storage engine (SE) retrieves data from model to answer requests made by the formula engine</a:t>
            </a: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2E2E2E"/>
              </a:solidFill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>
              <a:lnSpc>
                <a:spcPct val="107000"/>
              </a:lnSpc>
              <a:spcBef>
                <a:spcPts val="0"/>
              </a:spcBef>
            </a:pPr>
            <a:r>
              <a:rPr lang="en-GB" sz="1400" cap="none" dirty="0">
                <a:solidFill>
                  <a:schemeClr val="tx1"/>
                </a:solidFill>
                <a:latin typeface="Segoe UI (Body)"/>
                <a:cs typeface="Segoe UI Semibold" panose="020B0702040204020203" pitchFamily="34" charset="0"/>
              </a:rPr>
              <a:t>Data Analysis Expressions (DAX) 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is the language that performs advanced calculations and formulate the request sent to the storage engine.</a:t>
            </a: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2E2E2E"/>
              </a:solidFill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1600" dirty="0">
              <a:solidFill>
                <a:srgbClr val="2E2E2E"/>
              </a:solidFill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A287896-B087-E688-B13A-62BE74852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530" y="520530"/>
            <a:ext cx="10340737" cy="414000"/>
          </a:xfrm>
        </p:spPr>
        <p:txBody>
          <a:bodyPr/>
          <a:lstStyle/>
          <a:p>
            <a:pPr marL="0" marR="0">
              <a:spcBef>
                <a:spcPts val="200"/>
              </a:spcBef>
              <a:spcAft>
                <a:spcPts val="1200"/>
              </a:spcAft>
            </a:pPr>
            <a:r>
              <a:rPr lang="en-GB" sz="3200" cap="none" dirty="0">
                <a:latin typeface="Segoe UI (Body)"/>
              </a:rPr>
              <a:t>Under The Hood</a:t>
            </a:r>
            <a:endParaRPr lang="en-US" sz="3200" b="1" cap="none" dirty="0">
              <a:solidFill>
                <a:srgbClr val="2F5496"/>
              </a:solidFill>
              <a:effectLst/>
              <a:latin typeface="Segoe UI (Body)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7314D9-5CF2-8F61-AEDB-A83D43F0E8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77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177B984-FF08-DAA0-7C59-727EE90703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8810" y="4043023"/>
            <a:ext cx="6686994" cy="2144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063834"/>
      </p:ext>
    </p:extLst>
  </p:cSld>
  <p:clrMapOvr>
    <a:masterClrMapping/>
  </p:clrMapOvr>
  <p:transition>
    <p:fade/>
  </p:transition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294D1A3-D630-8414-E9AA-4CA5529577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6754" y="1253330"/>
            <a:ext cx="10270415" cy="5160721"/>
          </a:xfrm>
        </p:spPr>
        <p:txBody>
          <a:bodyPr/>
          <a:lstStyle/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800" dirty="0">
                <a:solidFill>
                  <a:srgbClr val="2F5496"/>
                </a:solidFill>
                <a:effectLst/>
                <a:latin typeface="Segoe UI Semibold" panose="020B0702040204020203" pitchFamily="34" charset="0"/>
                <a:ea typeface="Calibri" panose="020F0502020204030204" pitchFamily="34" charset="0"/>
                <a:cs typeface="Segoe UI Semibold" panose="020B0702040204020203" pitchFamily="34" charset="0"/>
              </a:rPr>
              <a:t>Data Compression Engine</a:t>
            </a: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2E2E2E"/>
                </a:solidFill>
                <a:latin typeface="Segoe UI Semibold" panose="020B0702040204020203" pitchFamily="34" charset="0"/>
                <a:ea typeface="Calibri" panose="020F0502020204030204" pitchFamily="34" charset="0"/>
                <a:cs typeface="Segoe UI Semibold" panose="020B0702040204020203" pitchFamily="34" charset="0"/>
              </a:rPr>
              <a:t>VertiPaq</a:t>
            </a:r>
            <a:r>
              <a:rPr lang="en-US" sz="1400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 - also known as </a:t>
            </a:r>
            <a:r>
              <a:rPr lang="en-US" sz="1400" dirty="0" err="1">
                <a:solidFill>
                  <a:srgbClr val="2E2E2E"/>
                </a:solidFill>
                <a:latin typeface="Segoe UI Semibold" panose="020B0702040204020203" pitchFamily="34" charset="0"/>
                <a:ea typeface="Calibri" panose="020F0502020204030204" pitchFamily="34" charset="0"/>
                <a:cs typeface="Segoe UI Semibold" panose="020B0702040204020203" pitchFamily="34" charset="0"/>
              </a:rPr>
              <a:t>xVelocity</a:t>
            </a:r>
            <a:r>
              <a:rPr lang="en-US" sz="1400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 in Power Pivot – is an in-memory columnar database engine that converts rows imported from the source data into an optimized storage organized by columns, encoding &amp; compressing each column’s data individually.</a:t>
            </a: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2E2E2E"/>
              </a:solidFill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Compression allows the engine to fit more data into memory and speed up most analytical queries by </a:t>
            </a:r>
            <a:r>
              <a:rPr lang="en-US" sz="1400" b="1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providing quick access to relevant data without scanning through whole tables</a:t>
            </a:r>
            <a:r>
              <a:rPr lang="en-US" sz="1400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.</a:t>
            </a: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2E2E2E"/>
              </a:solidFill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The VertiPaq compression algorithms reduces the memory footprint of a data model by:</a:t>
            </a:r>
          </a:p>
          <a:p>
            <a:pPr marL="628650" lvl="1" indent="-285750">
              <a:lnSpc>
                <a:spcPct val="107000"/>
              </a:lnSpc>
              <a:spcBef>
                <a:spcPts val="0"/>
              </a:spcBef>
              <a:buSzPct val="80000"/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reducing the size of the model</a:t>
            </a:r>
          </a:p>
          <a:p>
            <a:pPr marL="628650" lvl="1" indent="-285750">
              <a:lnSpc>
                <a:spcPct val="107000"/>
              </a:lnSpc>
              <a:spcBef>
                <a:spcPts val="0"/>
              </a:spcBef>
              <a:buSzPct val="80000"/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reducing the amount of RAM required to read its content. </a:t>
            </a:r>
          </a:p>
          <a:p>
            <a:pPr>
              <a:lnSpc>
                <a:spcPct val="107000"/>
              </a:lnSpc>
              <a:spcBef>
                <a:spcPts val="600"/>
              </a:spcBef>
            </a:pPr>
            <a:endParaRPr lang="en-US" sz="800" b="1" i="1" dirty="0">
              <a:solidFill>
                <a:srgbClr val="2E2E2E"/>
              </a:solidFill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>
              <a:lnSpc>
                <a:spcPct val="107000"/>
              </a:lnSpc>
              <a:spcBef>
                <a:spcPts val="600"/>
              </a:spcBef>
            </a:pPr>
            <a:r>
              <a:rPr lang="en-US" sz="1600" i="1" dirty="0">
                <a:solidFill>
                  <a:srgbClr val="2F5496"/>
                </a:solidFill>
                <a:latin typeface="Segoe UI Semibold" panose="020B0702040204020203" pitchFamily="34" charset="0"/>
                <a:ea typeface="Calibri" panose="020F0502020204030204" pitchFamily="34" charset="0"/>
                <a:cs typeface="Segoe UI Semibold" panose="020B0702040204020203" pitchFamily="34" charset="0"/>
              </a:rPr>
              <a:t>			VertiPaq can compress data by a factor of 10</a:t>
            </a:r>
          </a:p>
          <a:p>
            <a:pPr marL="285750" indent="-285750">
              <a:lnSpc>
                <a:spcPct val="107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900" dirty="0">
              <a:solidFill>
                <a:srgbClr val="2E2E2E"/>
              </a:solidFill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 marL="285750" indent="-285750">
              <a:lnSpc>
                <a:spcPct val="107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The VertiPaq compression only applies to imported data</a:t>
            </a:r>
            <a:r>
              <a:rPr lang="en-US" sz="1400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. The engine stores a copy of the initial data in memory and data will only update the next time it is downloaded or refreshed from the data source.</a:t>
            </a:r>
          </a:p>
          <a:p>
            <a:pPr marL="285750" marR="0" lvl="0" indent="-285750">
              <a:lnSpc>
                <a:spcPct val="107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In </a:t>
            </a:r>
            <a:r>
              <a:rPr lang="en-US" sz="1400" b="1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DirectQuery</a:t>
            </a:r>
            <a:r>
              <a:rPr lang="en-US" sz="1400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 mode queries are directly forwarded to the original data source for every request.</a:t>
            </a: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2E2E2E"/>
              </a:solidFill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A287896-B087-E688-B13A-62BE74852C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>
              <a:spcBef>
                <a:spcPts val="200"/>
              </a:spcBef>
              <a:spcAft>
                <a:spcPts val="1200"/>
              </a:spcAft>
            </a:pPr>
            <a:r>
              <a:rPr lang="en-GB" sz="3200" cap="none" dirty="0">
                <a:latin typeface="Segoe UI (Body)"/>
              </a:rPr>
              <a:t>Storage Engine – Encoding &amp; Compression </a:t>
            </a:r>
            <a:endParaRPr lang="en-US" sz="3200" b="1" cap="none" dirty="0">
              <a:solidFill>
                <a:srgbClr val="2F5496"/>
              </a:solidFill>
              <a:effectLst/>
              <a:latin typeface="Segoe UI (Body)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7314D9-5CF2-8F61-AEDB-A83D43F0E8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6413148"/>
      </p:ext>
    </p:extLst>
  </p:cSld>
  <p:clrMapOvr>
    <a:masterClrMapping/>
  </p:clrMapOvr>
  <p:transition>
    <p:fade/>
  </p:transition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294D1A3-D630-8414-E9AA-4CA5529577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6754" y="1253330"/>
            <a:ext cx="10270415" cy="5160721"/>
          </a:xfrm>
        </p:spPr>
        <p:txBody>
          <a:bodyPr/>
          <a:lstStyle/>
          <a:p>
            <a:pPr marL="0" lvl="1" indent="0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GB" sz="1800" cap="none" dirty="0">
                <a:solidFill>
                  <a:srgbClr val="2F5496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ncoding &amp; Compression</a:t>
            </a:r>
          </a:p>
          <a:p>
            <a:pPr marL="0" lvl="1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600" dirty="0">
                <a:solidFill>
                  <a:schemeClr val="tx1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VertiPaq automatically applies a combination of the following encoding and compression technics:</a:t>
            </a:r>
          </a:p>
          <a:p>
            <a:pPr marL="0" lvl="1" indent="0">
              <a:spcBef>
                <a:spcPts val="1200"/>
              </a:spcBef>
              <a:buNone/>
            </a:pPr>
            <a:r>
              <a:rPr lang="en-US" sz="1600" b="1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Value encoding </a:t>
            </a:r>
            <a:r>
              <a:rPr lang="en-US" sz="1600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applies to numeric columns and reduces integer values to their lowest storage size based on their characteristics, distribution and identified discovered mathematical relationships. </a:t>
            </a:r>
          </a:p>
          <a:p>
            <a:pPr marL="0" lvl="1" indent="0">
              <a:spcBef>
                <a:spcPts val="1200"/>
              </a:spcBef>
              <a:buNone/>
            </a:pPr>
            <a:r>
              <a:rPr lang="en-US" sz="1600" b="1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Dictionary encoding</a:t>
            </a:r>
            <a:r>
              <a:rPr lang="en-US" sz="1600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 (a.k.a. Hash encoding) entails:</a:t>
            </a:r>
          </a:p>
          <a:p>
            <a:pPr lvl="2">
              <a:spcBef>
                <a:spcPts val="300"/>
              </a:spcBef>
            </a:pPr>
            <a:r>
              <a:rPr lang="en-US" sz="1600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Building a dictionary of distinct text values of a column</a:t>
            </a:r>
          </a:p>
          <a:p>
            <a:pPr lvl="2">
              <a:spcBef>
                <a:spcPts val="300"/>
              </a:spcBef>
            </a:pPr>
            <a:r>
              <a:rPr lang="en-US" sz="1600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Indexing each value in the list with integers (assign integers to each value)</a:t>
            </a:r>
          </a:p>
          <a:p>
            <a:pPr lvl="2">
              <a:spcBef>
                <a:spcPts val="300"/>
              </a:spcBef>
            </a:pPr>
            <a:r>
              <a:rPr lang="en-US" sz="1600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Replacing the column values with indexes (integer values) in the dictionary</a:t>
            </a:r>
          </a:p>
          <a:p>
            <a:pPr marL="0" lvl="1" indent="0">
              <a:spcBef>
                <a:spcPts val="1200"/>
              </a:spcBef>
              <a:buNone/>
            </a:pPr>
            <a:r>
              <a:rPr lang="en-US" sz="1600" b="1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Run-Length Encoding (RLE) </a:t>
            </a:r>
            <a:r>
              <a:rPr lang="en-US" sz="1600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identifies and roll up repeating column values resulting in a more compact format that benefits from the sort order of the data.</a:t>
            </a:r>
          </a:p>
          <a:p>
            <a:pPr marL="0" lvl="1" indent="0">
              <a:spcBef>
                <a:spcPts val="1200"/>
              </a:spcBef>
              <a:buNone/>
            </a:pPr>
            <a:r>
              <a:rPr lang="en-US" sz="1600" b="1" dirty="0" err="1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Bitpacking</a:t>
            </a:r>
            <a:r>
              <a:rPr lang="en-US" sz="1600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 uses algorithms to represent data with as few as possible number of bits.</a:t>
            </a:r>
          </a:p>
          <a:p>
            <a:pPr marL="0" lvl="1" indent="0">
              <a:buNone/>
            </a:pPr>
            <a:endParaRPr lang="en-US" sz="1600" dirty="0">
              <a:solidFill>
                <a:srgbClr val="2E2E2E"/>
              </a:solidFill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2E2E2E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Whichever the encoding that Tabular chooses (value or dictionary), the internal data structure will end up consisting of integers. </a:t>
            </a:r>
            <a:endParaRPr lang="en-US" sz="1400" dirty="0">
              <a:solidFill>
                <a:srgbClr val="2E2E2E"/>
              </a:solidFill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A287896-B087-E688-B13A-62BE74852C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>
              <a:spcBef>
                <a:spcPts val="200"/>
              </a:spcBef>
              <a:spcAft>
                <a:spcPts val="1200"/>
              </a:spcAft>
            </a:pPr>
            <a:r>
              <a:rPr lang="en-GB" sz="3200" cap="none" dirty="0">
                <a:latin typeface="Segoe UI (Body)"/>
              </a:rPr>
              <a:t>Storage Engine – Encoding &amp; Compression </a:t>
            </a:r>
            <a:endParaRPr lang="en-US" sz="3200" b="1" cap="none" dirty="0">
              <a:solidFill>
                <a:srgbClr val="2F5496"/>
              </a:solidFill>
              <a:effectLst/>
              <a:latin typeface="Segoe UI (Body)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7314D9-5CF2-8F61-AEDB-A83D43F0E8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32126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9882C9C-A5F7-68DB-DAE0-8038D9598E33}"/>
              </a:ext>
            </a:extLst>
          </p:cNvPr>
          <p:cNvSpPr/>
          <p:nvPr/>
        </p:nvSpPr>
        <p:spPr bwMode="auto">
          <a:xfrm>
            <a:off x="2675658" y="1268997"/>
            <a:ext cx="9425928" cy="463675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76767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wer BI Desktop - .PBIX file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539B6CEC-3253-4423-B7B0-A4BB326D3F1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78696"/>
          <a:stretch/>
        </p:blipFill>
        <p:spPr>
          <a:xfrm>
            <a:off x="276959" y="1300716"/>
            <a:ext cx="1874832" cy="4712675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DEE58748-A184-4499-A128-35FD7AA6BFEA}"/>
              </a:ext>
            </a:extLst>
          </p:cNvPr>
          <p:cNvSpPr txBox="1"/>
          <p:nvPr/>
        </p:nvSpPr>
        <p:spPr>
          <a:xfrm>
            <a:off x="2846496" y="4046059"/>
            <a:ext cx="25334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b="1" dirty="0"/>
              <a:t>Query Edito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Data Source Connec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Data Transformat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CEBB231-6940-46AB-A599-A9475898A2D0}"/>
              </a:ext>
            </a:extLst>
          </p:cNvPr>
          <p:cNvSpPr txBox="1"/>
          <p:nvPr/>
        </p:nvSpPr>
        <p:spPr>
          <a:xfrm>
            <a:off x="14480" y="2142475"/>
            <a:ext cx="400110" cy="1727694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nl-NL" sz="1400" b="1" dirty="0"/>
              <a:t>Data Sources</a:t>
            </a:r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2A39FB8F-B1B9-419A-BFE7-1BFA308C87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507" y="347229"/>
            <a:ext cx="7763317" cy="545539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800" cap="none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Power BI Desktop Workflow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FEB7A24-C314-58B2-19EA-C9760090770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18" b="-634"/>
          <a:stretch/>
        </p:blipFill>
        <p:spPr>
          <a:xfrm>
            <a:off x="2908990" y="2142475"/>
            <a:ext cx="2835554" cy="1700980"/>
          </a:xfrm>
          <a:prstGeom prst="rect">
            <a:avLst/>
          </a:prstGeom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666E6108-4D05-49BE-0A1B-6BC165121D47}"/>
              </a:ext>
            </a:extLst>
          </p:cNvPr>
          <p:cNvGrpSpPr/>
          <p:nvPr/>
        </p:nvGrpSpPr>
        <p:grpSpPr>
          <a:xfrm>
            <a:off x="6980165" y="1542699"/>
            <a:ext cx="5211835" cy="4346748"/>
            <a:chOff x="5901651" y="1573649"/>
            <a:chExt cx="5211835" cy="4346748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9EAA4073-A7F4-47C7-92E3-2CE41ACE04BD}"/>
                </a:ext>
              </a:extLst>
            </p:cNvPr>
            <p:cNvSpPr txBox="1"/>
            <p:nvPr/>
          </p:nvSpPr>
          <p:spPr>
            <a:xfrm>
              <a:off x="9255619" y="1881888"/>
              <a:ext cx="132448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sz="1400" b="1" dirty="0"/>
                <a:t>Report</a:t>
              </a:r>
              <a:r>
                <a:rPr lang="nl-NL" sz="1400" dirty="0"/>
                <a:t> </a:t>
              </a:r>
            </a:p>
            <a:p>
              <a:r>
                <a:rPr lang="nl-NL" sz="1400" dirty="0"/>
                <a:t>Create Visual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A324B332-C3AF-4509-AF64-B22EA22947DE}"/>
                </a:ext>
              </a:extLst>
            </p:cNvPr>
            <p:cNvSpPr txBox="1"/>
            <p:nvPr/>
          </p:nvSpPr>
          <p:spPr>
            <a:xfrm>
              <a:off x="9255619" y="3279255"/>
              <a:ext cx="1767453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sz="1400" b="1" dirty="0"/>
                <a:t>Data</a:t>
              </a:r>
              <a:r>
                <a:rPr lang="nl-NL" sz="1400" dirty="0"/>
                <a:t> </a:t>
              </a:r>
            </a:p>
            <a:p>
              <a:r>
                <a:rPr lang="nl-NL" sz="1400" dirty="0"/>
                <a:t>View imported data</a:t>
              </a:r>
            </a:p>
            <a:p>
              <a:r>
                <a:rPr lang="nl-NL" sz="1400" dirty="0"/>
                <a:t>&amp; DAX tables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C55E7864-4248-4DF7-B919-AEF075C5CE3C}"/>
                </a:ext>
              </a:extLst>
            </p:cNvPr>
            <p:cNvSpPr txBox="1"/>
            <p:nvPr/>
          </p:nvSpPr>
          <p:spPr>
            <a:xfrm>
              <a:off x="9255619" y="4775932"/>
              <a:ext cx="1857867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sz="1400" b="1" dirty="0"/>
                <a:t>Relationships</a:t>
              </a:r>
              <a:r>
                <a:rPr lang="nl-NL" sz="1400" dirty="0"/>
                <a:t>  </a:t>
              </a:r>
            </a:p>
            <a:p>
              <a:r>
                <a:rPr lang="nl-NL" sz="1400" dirty="0"/>
                <a:t>View &amp; manage table relationships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E9071E6A-AF04-E720-8AFB-F6DF9F030025}"/>
                </a:ext>
              </a:extLst>
            </p:cNvPr>
            <p:cNvGrpSpPr/>
            <p:nvPr/>
          </p:nvGrpSpPr>
          <p:grpSpPr>
            <a:xfrm>
              <a:off x="5901651" y="1573649"/>
              <a:ext cx="3223456" cy="4346748"/>
              <a:chOff x="6833936" y="1456069"/>
              <a:chExt cx="3223456" cy="4346748"/>
            </a:xfrm>
          </p:grpSpPr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D7D5D895-77D4-742B-B2D2-81722C17C6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512716" y="4330442"/>
                <a:ext cx="2544676" cy="1472375"/>
              </a:xfrm>
              <a:prstGeom prst="rect">
                <a:avLst/>
              </a:prstGeom>
            </p:spPr>
          </p:pic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976EC878-9002-9F2A-0119-B585C6E2B3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833936" y="1456069"/>
                <a:ext cx="438826" cy="1278864"/>
              </a:xfrm>
              <a:prstGeom prst="rect">
                <a:avLst/>
              </a:prstGeom>
            </p:spPr>
          </p:pic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26960EE2-ADBD-65BE-AF8D-97E61BF5CC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847896" y="2847736"/>
                <a:ext cx="444508" cy="1320822"/>
              </a:xfrm>
              <a:prstGeom prst="rect">
                <a:avLst/>
              </a:prstGeom>
            </p:spPr>
          </p:pic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91DE6E6F-8EE2-C17F-73A3-461FABF598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842526" y="4267079"/>
                <a:ext cx="465262" cy="1418372"/>
              </a:xfrm>
              <a:prstGeom prst="rect">
                <a:avLst/>
              </a:prstGeom>
            </p:spPr>
          </p:pic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CB0E084C-BD4D-0FDD-8BB0-58E41CDE1E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504498" y="2813880"/>
                <a:ext cx="2544676" cy="1467224"/>
              </a:xfrm>
              <a:prstGeom prst="rect">
                <a:avLst/>
              </a:prstGeom>
            </p:spPr>
          </p:pic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311F974D-0B69-6326-9906-E1007B1C06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450908" y="1475307"/>
                <a:ext cx="2558850" cy="1134193"/>
              </a:xfrm>
              <a:prstGeom prst="rect">
                <a:avLst/>
              </a:prstGeom>
            </p:spPr>
          </p:pic>
        </p:grpSp>
      </p:grp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1CDA26B9-E663-A126-4537-CB91B7C242FE}"/>
              </a:ext>
            </a:extLst>
          </p:cNvPr>
          <p:cNvCxnSpPr>
            <a:cxnSpLocks/>
          </p:cNvCxnSpPr>
          <p:nvPr/>
        </p:nvCxnSpPr>
        <p:spPr>
          <a:xfrm flipV="1">
            <a:off x="2021516" y="3528060"/>
            <a:ext cx="571588" cy="569630"/>
          </a:xfrm>
          <a:prstGeom prst="straightConnector1">
            <a:avLst/>
          </a:prstGeom>
          <a:ln w="28575">
            <a:solidFill>
              <a:srgbClr val="0079D6"/>
            </a:solidFill>
            <a:headEnd type="none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E61A0B40-4811-1094-F881-B533730E19B1}"/>
              </a:ext>
            </a:extLst>
          </p:cNvPr>
          <p:cNvCxnSpPr>
            <a:cxnSpLocks/>
          </p:cNvCxnSpPr>
          <p:nvPr/>
        </p:nvCxnSpPr>
        <p:spPr>
          <a:xfrm>
            <a:off x="2126046" y="2356582"/>
            <a:ext cx="457857" cy="510235"/>
          </a:xfrm>
          <a:prstGeom prst="straightConnector1">
            <a:avLst/>
          </a:prstGeom>
          <a:ln w="28575">
            <a:solidFill>
              <a:srgbClr val="0079D6"/>
            </a:solidFill>
            <a:headEnd type="none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D72F1DEF-BFE1-4743-BE27-763A9FD8CB2A}"/>
              </a:ext>
            </a:extLst>
          </p:cNvPr>
          <p:cNvSpPr txBox="1"/>
          <p:nvPr/>
        </p:nvSpPr>
        <p:spPr>
          <a:xfrm>
            <a:off x="5678449" y="2679033"/>
            <a:ext cx="975520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2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lose &amp; Apply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40D8529-E599-B235-EE2A-842EA156789A}"/>
              </a:ext>
            </a:extLst>
          </p:cNvPr>
          <p:cNvSpPr txBox="1"/>
          <p:nvPr/>
        </p:nvSpPr>
        <p:spPr>
          <a:xfrm>
            <a:off x="5004172" y="4589925"/>
            <a:ext cx="1667348" cy="71173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4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lose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1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loses Query Editor 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D8023A00-3993-66B3-CF6A-F049D74044D6}"/>
              </a:ext>
            </a:extLst>
          </p:cNvPr>
          <p:cNvSpPr txBox="1"/>
          <p:nvPr/>
        </p:nvSpPr>
        <p:spPr>
          <a:xfrm>
            <a:off x="5018251" y="5301658"/>
            <a:ext cx="1667348" cy="71173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4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pply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1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oads data to Model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515F8FD-E72F-032F-E787-994A5398D041}"/>
              </a:ext>
            </a:extLst>
          </p:cNvPr>
          <p:cNvGrpSpPr/>
          <p:nvPr/>
        </p:nvGrpSpPr>
        <p:grpSpPr>
          <a:xfrm>
            <a:off x="5836251" y="1699261"/>
            <a:ext cx="1093880" cy="3784385"/>
            <a:chOff x="5013669" y="2113728"/>
            <a:chExt cx="1377117" cy="3720963"/>
          </a:xfrm>
        </p:grpSpPr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90A16B3E-DC09-32FF-AC73-996157E9F985}"/>
                </a:ext>
              </a:extLst>
            </p:cNvPr>
            <p:cNvCxnSpPr/>
            <p:nvPr/>
          </p:nvCxnSpPr>
          <p:spPr>
            <a:xfrm>
              <a:off x="5869985" y="2114550"/>
              <a:ext cx="492553" cy="1"/>
            </a:xfrm>
            <a:prstGeom prst="straightConnector1">
              <a:avLst/>
            </a:prstGeom>
            <a:ln w="28575">
              <a:solidFill>
                <a:srgbClr val="0079D6"/>
              </a:solidFill>
              <a:headEnd type="none"/>
              <a:tailEnd type="triangl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Arrow Connector 57">
              <a:extLst>
                <a:ext uri="{FF2B5EF4-FFF2-40B4-BE49-F238E27FC236}">
                  <a16:creationId xmlns:a16="http://schemas.microsoft.com/office/drawing/2014/main" id="{FED1CFAC-9A6D-1CC3-AB34-5E7E40E57DA3}"/>
                </a:ext>
              </a:extLst>
            </p:cNvPr>
            <p:cNvCxnSpPr/>
            <p:nvPr/>
          </p:nvCxnSpPr>
          <p:spPr>
            <a:xfrm>
              <a:off x="5872056" y="4006175"/>
              <a:ext cx="492553" cy="1"/>
            </a:xfrm>
            <a:prstGeom prst="straightConnector1">
              <a:avLst/>
            </a:prstGeom>
            <a:ln w="28575">
              <a:solidFill>
                <a:srgbClr val="0079D6"/>
              </a:solidFill>
              <a:headEnd type="none"/>
              <a:tailEnd type="triangl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4219CD58-37FC-0339-1F80-36F19050EFF7}"/>
                </a:ext>
              </a:extLst>
            </p:cNvPr>
            <p:cNvCxnSpPr/>
            <p:nvPr/>
          </p:nvCxnSpPr>
          <p:spPr>
            <a:xfrm>
              <a:off x="5898233" y="5834690"/>
              <a:ext cx="492553" cy="1"/>
            </a:xfrm>
            <a:prstGeom prst="straightConnector1">
              <a:avLst/>
            </a:prstGeom>
            <a:ln w="28575">
              <a:solidFill>
                <a:srgbClr val="0079D6"/>
              </a:solidFill>
              <a:headEnd type="none"/>
              <a:tailEnd type="triangl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Arrow Connector 59">
              <a:extLst>
                <a:ext uri="{FF2B5EF4-FFF2-40B4-BE49-F238E27FC236}">
                  <a16:creationId xmlns:a16="http://schemas.microsoft.com/office/drawing/2014/main" id="{985D7F3F-0E37-CDB8-491F-FF8E2F0CA1EC}"/>
                </a:ext>
              </a:extLst>
            </p:cNvPr>
            <p:cNvCxnSpPr>
              <a:cxnSpLocks/>
            </p:cNvCxnSpPr>
            <p:nvPr/>
          </p:nvCxnSpPr>
          <p:spPr>
            <a:xfrm>
              <a:off x="5866343" y="2113728"/>
              <a:ext cx="40584" cy="3720963"/>
            </a:xfrm>
            <a:prstGeom prst="straightConnector1">
              <a:avLst/>
            </a:prstGeom>
            <a:ln w="28575">
              <a:solidFill>
                <a:srgbClr val="0079D6"/>
              </a:solidFill>
              <a:headEnd type="none"/>
              <a:tailEnd type="non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Arrow Connector 60">
              <a:extLst>
                <a:ext uri="{FF2B5EF4-FFF2-40B4-BE49-F238E27FC236}">
                  <a16:creationId xmlns:a16="http://schemas.microsoft.com/office/drawing/2014/main" id="{DB4955A7-44BE-280C-B68D-B83ED7053104}"/>
                </a:ext>
              </a:extLst>
            </p:cNvPr>
            <p:cNvCxnSpPr/>
            <p:nvPr/>
          </p:nvCxnSpPr>
          <p:spPr>
            <a:xfrm>
              <a:off x="5013669" y="3021788"/>
              <a:ext cx="852674" cy="1"/>
            </a:xfrm>
            <a:prstGeom prst="straightConnector1">
              <a:avLst/>
            </a:prstGeom>
            <a:ln w="28575">
              <a:solidFill>
                <a:srgbClr val="0079D6"/>
              </a:solidFill>
              <a:headEnd type="none"/>
              <a:tailEnd type="triangl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3234746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22" presetClass="entr" presetSubtype="8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/>
    </p:bld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8232075-3093-D09D-63A1-56AE166912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2604" y="1249947"/>
            <a:ext cx="10270415" cy="4882426"/>
          </a:xfrm>
        </p:spPr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The formula engine is the top-level engine that manages the whole architecture of a query.</a:t>
            </a:r>
          </a:p>
          <a:p>
            <a:pPr marL="685800" lvl="1">
              <a:lnSpc>
                <a:spcPct val="107000"/>
              </a:lnSpc>
              <a:spcBef>
                <a:spcPts val="0"/>
              </a:spcBef>
              <a:buSzPct val="80000"/>
              <a:buFont typeface="Symbol" panose="05050102010706020507" pitchFamily="18" charset="2"/>
              <a:buChar char=""/>
            </a:pPr>
            <a:r>
              <a:rPr lang="en-US" sz="1600" dirty="0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Understands queries create in </a:t>
            </a:r>
            <a:r>
              <a:rPr lang="en-US" sz="1600" b="1" dirty="0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DAX</a:t>
            </a:r>
            <a:r>
              <a:rPr lang="en-US" sz="1600" dirty="0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 as well as in </a:t>
            </a:r>
            <a:r>
              <a:rPr lang="en-US" sz="1600" b="1" dirty="0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MDX</a:t>
            </a:r>
            <a:r>
              <a:rPr lang="en-US" sz="1600" dirty="0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, the query language used for Excel pivot table and multidimensional models.</a:t>
            </a:r>
          </a:p>
          <a:p>
            <a:pPr marL="685800" lvl="1">
              <a:lnSpc>
                <a:spcPct val="107000"/>
              </a:lnSpc>
              <a:spcBef>
                <a:spcPts val="0"/>
              </a:spcBef>
              <a:buSzPct val="80000"/>
              <a:buFont typeface="Symbol" panose="05050102010706020507" pitchFamily="18" charset="2"/>
              <a:buChar char=""/>
            </a:pPr>
            <a:r>
              <a:rPr lang="en-US" sz="1600" dirty="0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Generates a logical query plan that the storage engine understands.</a:t>
            </a:r>
          </a:p>
          <a:p>
            <a:pPr marL="685800" lvl="1">
              <a:lnSpc>
                <a:spcPct val="107000"/>
              </a:lnSpc>
              <a:spcBef>
                <a:spcPts val="0"/>
              </a:spcBef>
              <a:buSzPct val="80000"/>
              <a:buFont typeface="Symbol" panose="05050102010706020507" pitchFamily="18" charset="2"/>
              <a:buChar char=""/>
            </a:pPr>
            <a:r>
              <a:rPr lang="en-US" sz="1600" dirty="0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Creates physical query plan to be executed.</a:t>
            </a: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600" dirty="0"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dirty="0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Physical operations can consist of joins between multiple tables, filtering, or aggregations.</a:t>
            </a: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dirty="0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Note: Formula Engine works in a single-threaded way, which means that requests are sent to the Storage Engine sequentially.</a:t>
            </a: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600" dirty="0"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b="1" dirty="0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DAX Studio </a:t>
            </a:r>
            <a:r>
              <a:rPr lang="en-US" sz="1600" dirty="0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is the best tool to obtain details of the query plans and, for experienced developers, to fine tune slow DAX calculations.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29315F-93BB-3010-27C1-5C8C94947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cap="none" dirty="0">
                <a:latin typeface="Segoe UI (Body)"/>
              </a:rPr>
              <a:t>Formula Engine</a:t>
            </a:r>
            <a:endParaRPr lang="en-US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F98766-A59A-5861-CD97-4789896A56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80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7DDD184-7CBB-2B29-D0FA-60DFB88B16BB}"/>
              </a:ext>
            </a:extLst>
          </p:cNvPr>
          <p:cNvSpPr txBox="1"/>
          <p:nvPr/>
        </p:nvSpPr>
        <p:spPr>
          <a:xfrm>
            <a:off x="8278635" y="6261913"/>
            <a:ext cx="283596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hlinkClick r:id="rId3"/>
              </a:rPr>
              <a:t>DAX Logical &amp; Physical Query Plans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627761735"/>
      </p:ext>
    </p:extLst>
  </p:cSld>
  <p:clrMapOvr>
    <a:masterClrMapping/>
  </p:clrMapOvr>
  <p:transition>
    <p:fade/>
  </p:transition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A287896-B087-E688-B13A-62BE74852C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>
              <a:spcBef>
                <a:spcPts val="200"/>
              </a:spcBef>
              <a:spcAft>
                <a:spcPts val="1200"/>
              </a:spcAft>
            </a:pPr>
            <a:r>
              <a:rPr lang="en-GB" sz="3200" cap="none" dirty="0">
                <a:latin typeface="Segoe UI (Body)"/>
              </a:rPr>
              <a:t>DAX Calculation Process</a:t>
            </a:r>
            <a:endParaRPr lang="en-US" sz="3200" b="1" cap="none" dirty="0">
              <a:solidFill>
                <a:srgbClr val="2F5496"/>
              </a:solidFill>
              <a:effectLst/>
              <a:latin typeface="Segoe UI (Body)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7314D9-5CF2-8F61-AEDB-A83D43F0E8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81</a:t>
            </a:fld>
            <a:endParaRPr lang="en-US"/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24573DF4-4B0D-4A54-8DD5-76E41F0E4B89}"/>
              </a:ext>
            </a:extLst>
          </p:cNvPr>
          <p:cNvGraphicFramePr>
            <a:graphicFrameLocks noGrp="1"/>
          </p:cNvGraphicFramePr>
          <p:nvPr/>
        </p:nvGraphicFramePr>
        <p:xfrm>
          <a:off x="916754" y="4494032"/>
          <a:ext cx="9548191" cy="1478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8046">
                  <a:extLst>
                    <a:ext uri="{9D8B030D-6E8A-4147-A177-3AD203B41FA5}">
                      <a16:colId xmlns:a16="http://schemas.microsoft.com/office/drawing/2014/main" val="262956979"/>
                    </a:ext>
                  </a:extLst>
                </a:gridCol>
                <a:gridCol w="7870145">
                  <a:extLst>
                    <a:ext uri="{9D8B030D-6E8A-4147-A177-3AD203B41FA5}">
                      <a16:colId xmlns:a16="http://schemas.microsoft.com/office/drawing/2014/main" val="178438349"/>
                    </a:ext>
                  </a:extLst>
                </a:gridCol>
              </a:tblGrid>
              <a:tr h="277081">
                <a:tc>
                  <a:txBody>
                    <a:bodyPr/>
                    <a:lstStyle/>
                    <a:p>
                      <a:r>
                        <a:rPr lang="en-US" b="0" dirty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Sta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4629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  <a:latin typeface="Segoe UI (Body)"/>
                          <a:cs typeface="Segoe UI Semibold" panose="020B0702040204020203" pitchFamily="34" charset="0"/>
                        </a:rPr>
                        <a:t>Q</a:t>
                      </a:r>
                      <a:r>
                        <a:rPr lang="en-GB" sz="1400" cap="none" dirty="0">
                          <a:solidFill>
                            <a:schemeClr val="tx1"/>
                          </a:solidFill>
                          <a:latin typeface="Segoe UI (Body)"/>
                          <a:cs typeface="Segoe UI Semibold" panose="020B0702040204020203" pitchFamily="34" charset="0"/>
                        </a:rPr>
                        <a:t>uery Plan</a:t>
                      </a:r>
                      <a:endParaRPr lang="en-US" sz="1400" dirty="0">
                        <a:solidFill>
                          <a:schemeClr val="tx1"/>
                        </a:solidFill>
                        <a:latin typeface="Segoe UI (Body)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3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Calibri" panose="020F0502020204030204" pitchFamily="34" charset="0"/>
                          <a:cs typeface="Segoe UI Light" panose="020B0502040204020203" pitchFamily="34" charset="0"/>
                        </a:rPr>
                        <a:t>FE creates list of logical steps to the SE that specifies what data is needed and how to obtain it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9507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  <a:latin typeface="Segoe UI (Body)"/>
                          <a:cs typeface="Segoe UI Semibold" panose="020B0702040204020203" pitchFamily="34" charset="0"/>
                        </a:rPr>
                        <a:t>Data Cache</a:t>
                      </a:r>
                      <a:endParaRPr lang="en-US" sz="1400" dirty="0">
                        <a:solidFill>
                          <a:schemeClr val="tx1"/>
                        </a:solidFill>
                        <a:latin typeface="Segoe UI (Body)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Calibri" panose="020F0502020204030204" pitchFamily="34" charset="0"/>
                          <a:cs typeface="Segoe UI Light" panose="020B0502040204020203" pitchFamily="34" charset="0"/>
                        </a:rPr>
                        <a:t>SE executes the query plan and sends back a table of data to the FE.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673571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  <a:latin typeface="Segoe UI (Body)"/>
                          <a:cs typeface="Segoe UI Semibold" panose="020B0702040204020203" pitchFamily="34" charset="0"/>
                        </a:rPr>
                        <a:t>Evaluation</a:t>
                      </a:r>
                      <a:endParaRPr lang="en-US" sz="1400" dirty="0">
                        <a:solidFill>
                          <a:schemeClr val="tx1"/>
                        </a:solidFill>
                        <a:latin typeface="Segoe UI (Body)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3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Calibri" panose="020F0502020204030204" pitchFamily="34" charset="0"/>
                          <a:cs typeface="Segoe UI Light" panose="020B0502040204020203" pitchFamily="34" charset="0"/>
                        </a:rPr>
                        <a:t>FE evaluates the DAX query against the data cache and returns an output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22161829"/>
                  </a:ext>
                </a:extLst>
              </a:tr>
            </a:tbl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C287AF41-FB4D-4443-275E-04FF11DE42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9449" y="1488482"/>
            <a:ext cx="8461254" cy="2713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006294"/>
      </p:ext>
    </p:extLst>
  </p:cSld>
  <p:clrMapOvr>
    <a:masterClrMapping/>
  </p:clrMapOvr>
  <p:transition>
    <p:fade/>
  </p:transition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A287896-B087-E688-B13A-62BE74852C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>
              <a:spcBef>
                <a:spcPts val="200"/>
              </a:spcBef>
              <a:spcAft>
                <a:spcPts val="1200"/>
              </a:spcAft>
            </a:pPr>
            <a:r>
              <a:rPr lang="en-GB" sz="3200" cap="none" dirty="0">
                <a:latin typeface="Segoe UI (Body)"/>
              </a:rPr>
              <a:t>Formula vs Storage Engine</a:t>
            </a:r>
            <a:endParaRPr lang="en-US" sz="3200" b="1" cap="none" dirty="0">
              <a:solidFill>
                <a:srgbClr val="2F5496"/>
              </a:solidFill>
              <a:effectLst/>
              <a:latin typeface="Segoe UI (Body)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7314D9-5CF2-8F61-AEDB-A83D43F0E8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82</a:t>
            </a:fld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08E35D73-1FCB-590F-4A04-D11370B2E25F}"/>
              </a:ext>
            </a:extLst>
          </p:cNvPr>
          <p:cNvGraphicFramePr>
            <a:graphicFrameLocks noGrp="1"/>
          </p:cNvGraphicFramePr>
          <p:nvPr/>
        </p:nvGraphicFramePr>
        <p:xfrm>
          <a:off x="916754" y="1628897"/>
          <a:ext cx="9269868" cy="227482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69213">
                  <a:extLst>
                    <a:ext uri="{9D8B030D-6E8A-4147-A177-3AD203B41FA5}">
                      <a16:colId xmlns:a16="http://schemas.microsoft.com/office/drawing/2014/main" val="750458693"/>
                    </a:ext>
                  </a:extLst>
                </a:gridCol>
                <a:gridCol w="3734054">
                  <a:extLst>
                    <a:ext uri="{9D8B030D-6E8A-4147-A177-3AD203B41FA5}">
                      <a16:colId xmlns:a16="http://schemas.microsoft.com/office/drawing/2014/main" val="4086159033"/>
                    </a:ext>
                  </a:extLst>
                </a:gridCol>
                <a:gridCol w="3866601">
                  <a:extLst>
                    <a:ext uri="{9D8B030D-6E8A-4147-A177-3AD203B41FA5}">
                      <a16:colId xmlns:a16="http://schemas.microsoft.com/office/drawing/2014/main" val="2144705024"/>
                    </a:ext>
                  </a:extLst>
                </a:gridCol>
              </a:tblGrid>
              <a:tr h="3545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50843" marR="50843" marT="12711" marB="1271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Formula Engine (FE)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Segoe UI Semibold" panose="020B0702040204020203" pitchFamily="34" charset="0"/>
                        <a:ea typeface="Calibri" panose="020F0502020204030204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50843" marR="50843" marT="12711" marB="1271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Storage Engine (SE)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Segoe UI Semibold" panose="020B0702040204020203" pitchFamily="34" charset="0"/>
                        <a:ea typeface="Calibri" panose="020F0502020204030204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50843" marR="50843" marT="12711" marB="12711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692710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Segoe UI (Body)"/>
                          <a:cs typeface="Segoe UI Semibold" panose="020B0702040204020203" pitchFamily="34" charset="0"/>
                        </a:rPr>
                        <a:t>Name</a:t>
                      </a:r>
                      <a:endParaRPr lang="en-US" sz="1600" b="0" dirty="0">
                        <a:effectLst/>
                        <a:latin typeface="Segoe UI (Body)"/>
                        <a:ea typeface="Calibri" panose="020F0502020204030204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50843" marR="50843" marT="12711" marB="12711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DirectQuery / DAX</a:t>
                      </a:r>
                      <a:endParaRPr lang="en-US" sz="1400" dirty="0">
                        <a:effectLst/>
                        <a:latin typeface="Segoe UI Light" panose="020B0502040204020203" pitchFamily="34" charset="0"/>
                        <a:ea typeface="Calibri" panose="020F0502020204030204" pitchFamily="34" charset="0"/>
                        <a:cs typeface="Segoe UI Light" panose="020B0502040204020203" pitchFamily="34" charset="0"/>
                      </a:endParaRPr>
                    </a:p>
                  </a:txBody>
                  <a:tcPr marL="50843" marR="50843" marT="12711" marB="12711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VertiPaq (also called </a:t>
                      </a:r>
                      <a:r>
                        <a:rPr lang="en-US" sz="1400" dirty="0" err="1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xVelocity</a:t>
                      </a:r>
                      <a:r>
                        <a:rPr lang="en-US" sz="1400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)</a:t>
                      </a:r>
                      <a:endParaRPr lang="en-US" sz="1400" dirty="0">
                        <a:effectLst/>
                        <a:latin typeface="Segoe UI Light" panose="020B0502040204020203" pitchFamily="34" charset="0"/>
                        <a:ea typeface="Calibri" panose="020F0502020204030204" pitchFamily="34" charset="0"/>
                        <a:cs typeface="Segoe UI Light" panose="020B0502040204020203" pitchFamily="34" charset="0"/>
                      </a:endParaRPr>
                    </a:p>
                  </a:txBody>
                  <a:tcPr marL="50843" marR="50843" marT="12711" marB="12711" anchor="ctr"/>
                </a:tc>
                <a:extLst>
                  <a:ext uri="{0D108BD9-81ED-4DB2-BD59-A6C34878D82A}">
                    <a16:rowId xmlns:a16="http://schemas.microsoft.com/office/drawing/2014/main" val="2916488979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Segoe UI (Body)"/>
                          <a:cs typeface="Segoe UI Semibold" panose="020B0702040204020203" pitchFamily="34" charset="0"/>
                        </a:rPr>
                        <a:t>Function</a:t>
                      </a:r>
                      <a:endParaRPr lang="en-US" sz="1600" b="0" dirty="0">
                        <a:effectLst/>
                        <a:latin typeface="Segoe UI (Body)"/>
                        <a:ea typeface="Calibri" panose="020F0502020204030204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50843" marR="50843" marT="12711" marB="12711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Query and calculation engine</a:t>
                      </a:r>
                      <a:endParaRPr lang="en-US" sz="1400" dirty="0">
                        <a:effectLst/>
                        <a:latin typeface="Segoe UI Light" panose="020B0502040204020203" pitchFamily="34" charset="0"/>
                        <a:ea typeface="Calibri" panose="020F0502020204030204" pitchFamily="34" charset="0"/>
                        <a:cs typeface="Segoe UI Light" panose="020B0502040204020203" pitchFamily="34" charset="0"/>
                      </a:endParaRPr>
                    </a:p>
                  </a:txBody>
                  <a:tcPr marL="50843" marR="50843" marT="12711" marB="12711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Data compression and retrieval</a:t>
                      </a:r>
                      <a:endParaRPr lang="en-US" sz="1400" dirty="0">
                        <a:effectLst/>
                        <a:latin typeface="Segoe UI Light" panose="020B0502040204020203" pitchFamily="34" charset="0"/>
                        <a:ea typeface="Calibri" panose="020F0502020204030204" pitchFamily="34" charset="0"/>
                        <a:cs typeface="Segoe UI Light" panose="020B0502040204020203" pitchFamily="34" charset="0"/>
                      </a:endParaRPr>
                    </a:p>
                  </a:txBody>
                  <a:tcPr marL="50843" marR="50843" marT="12711" marB="12711" anchor="ctr"/>
                </a:tc>
                <a:extLst>
                  <a:ext uri="{0D108BD9-81ED-4DB2-BD59-A6C34878D82A}">
                    <a16:rowId xmlns:a16="http://schemas.microsoft.com/office/drawing/2014/main" val="125264343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Segoe UI (Body)"/>
                          <a:cs typeface="Segoe UI Semibold" panose="020B0702040204020203" pitchFamily="34" charset="0"/>
                        </a:rPr>
                        <a:t>Data Used</a:t>
                      </a:r>
                      <a:endParaRPr lang="en-US" sz="1600" b="0" dirty="0">
                        <a:effectLst/>
                        <a:latin typeface="Segoe UI (Body)"/>
                        <a:ea typeface="Calibri" panose="020F0502020204030204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50843" marR="50843" marT="12711" marB="12711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Uncompressed data cache from Data Cache</a:t>
                      </a:r>
                      <a:endParaRPr lang="en-US" sz="1400" dirty="0">
                        <a:effectLst/>
                        <a:latin typeface="Segoe UI Light" panose="020B0502040204020203" pitchFamily="34" charset="0"/>
                        <a:ea typeface="Calibri" panose="020F0502020204030204" pitchFamily="34" charset="0"/>
                        <a:cs typeface="Segoe UI Light" panose="020B0502040204020203" pitchFamily="34" charset="0"/>
                      </a:endParaRPr>
                    </a:p>
                  </a:txBody>
                  <a:tcPr marL="50843" marR="50843" marT="12711" marB="12711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Scans and retrieves compressed data in-memory</a:t>
                      </a:r>
                      <a:endParaRPr lang="en-US" sz="1400" dirty="0">
                        <a:effectLst/>
                        <a:latin typeface="Segoe UI Light" panose="020B0502040204020203" pitchFamily="34" charset="0"/>
                        <a:ea typeface="Calibri" panose="020F0502020204030204" pitchFamily="34" charset="0"/>
                        <a:cs typeface="Segoe UI Light" panose="020B0502040204020203" pitchFamily="34" charset="0"/>
                      </a:endParaRPr>
                    </a:p>
                  </a:txBody>
                  <a:tcPr marL="50843" marR="50843" marT="12711" marB="12711" anchor="ctr"/>
                </a:tc>
                <a:extLst>
                  <a:ext uri="{0D108BD9-81ED-4DB2-BD59-A6C34878D82A}">
                    <a16:rowId xmlns:a16="http://schemas.microsoft.com/office/drawing/2014/main" val="318196957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Segoe UI (Body)"/>
                          <a:cs typeface="Segoe UI Semibold" panose="020B0702040204020203" pitchFamily="34" charset="0"/>
                        </a:rPr>
                        <a:t>Expression Type</a:t>
                      </a:r>
                      <a:endParaRPr lang="en-US" sz="1600" b="0" dirty="0">
                        <a:effectLst/>
                        <a:latin typeface="Segoe UI (Body)"/>
                        <a:ea typeface="Calibri" panose="020F0502020204030204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50843" marR="50843" marT="12711" marB="12711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Complex expression</a:t>
                      </a:r>
                      <a:endParaRPr lang="en-US" sz="1400" dirty="0">
                        <a:effectLst/>
                        <a:latin typeface="Segoe UI Light" panose="020B0502040204020203" pitchFamily="34" charset="0"/>
                        <a:ea typeface="Calibri" panose="020F0502020204030204" pitchFamily="34" charset="0"/>
                        <a:cs typeface="Segoe UI Light" panose="020B0502040204020203" pitchFamily="34" charset="0"/>
                      </a:endParaRPr>
                    </a:p>
                  </a:txBody>
                  <a:tcPr marL="50843" marR="50843" marT="12711" marB="12711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Simple expression</a:t>
                      </a:r>
                      <a:endParaRPr lang="en-US" sz="1400" dirty="0">
                        <a:effectLst/>
                        <a:latin typeface="Segoe UI Light" panose="020B0502040204020203" pitchFamily="34" charset="0"/>
                        <a:ea typeface="Calibri" panose="020F0502020204030204" pitchFamily="34" charset="0"/>
                        <a:cs typeface="Segoe UI Light" panose="020B0502040204020203" pitchFamily="34" charset="0"/>
                      </a:endParaRPr>
                    </a:p>
                  </a:txBody>
                  <a:tcPr marL="50843" marR="50843" marT="12711" marB="12711" anchor="ctr"/>
                </a:tc>
                <a:extLst>
                  <a:ext uri="{0D108BD9-81ED-4DB2-BD59-A6C34878D82A}">
                    <a16:rowId xmlns:a16="http://schemas.microsoft.com/office/drawing/2014/main" val="72782805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Segoe UI (Body)"/>
                          <a:cs typeface="Segoe UI Semibold" panose="020B0702040204020203" pitchFamily="34" charset="0"/>
                        </a:rPr>
                        <a:t>Optimized for</a:t>
                      </a:r>
                      <a:endParaRPr lang="en-US" sz="1600" b="0" dirty="0">
                        <a:effectLst/>
                        <a:latin typeface="Segoe UI (Body)"/>
                        <a:ea typeface="Calibri" panose="020F0502020204030204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50843" marR="50843" marT="12711" marB="12711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Complexity</a:t>
                      </a:r>
                      <a:endParaRPr lang="en-US" sz="1400" dirty="0">
                        <a:effectLst/>
                        <a:latin typeface="Segoe UI Light" panose="020B0502040204020203" pitchFamily="34" charset="0"/>
                        <a:ea typeface="Calibri" panose="020F0502020204030204" pitchFamily="34" charset="0"/>
                        <a:cs typeface="Segoe UI Light" panose="020B0502040204020203" pitchFamily="34" charset="0"/>
                      </a:endParaRPr>
                    </a:p>
                  </a:txBody>
                  <a:tcPr marL="50843" marR="50843" marT="12711" marB="12711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Speed</a:t>
                      </a:r>
                      <a:endParaRPr lang="en-US" sz="1400" dirty="0">
                        <a:effectLst/>
                        <a:latin typeface="Segoe UI Light" panose="020B0502040204020203" pitchFamily="34" charset="0"/>
                        <a:ea typeface="Calibri" panose="020F0502020204030204" pitchFamily="34" charset="0"/>
                        <a:cs typeface="Segoe UI Light" panose="020B0502040204020203" pitchFamily="34" charset="0"/>
                      </a:endParaRPr>
                    </a:p>
                  </a:txBody>
                  <a:tcPr marL="50843" marR="50843" marT="12711" marB="12711" anchor="ctr"/>
                </a:tc>
                <a:extLst>
                  <a:ext uri="{0D108BD9-81ED-4DB2-BD59-A6C34878D82A}">
                    <a16:rowId xmlns:a16="http://schemas.microsoft.com/office/drawing/2014/main" val="1394582125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Segoe UI (Body)"/>
                          <a:cs typeface="Segoe UI Semibold" panose="020B0702040204020203" pitchFamily="34" charset="0"/>
                        </a:rPr>
                        <a:t>Speed</a:t>
                      </a:r>
                      <a:endParaRPr lang="en-US" sz="1600" b="0" dirty="0">
                        <a:effectLst/>
                        <a:latin typeface="Segoe UI (Body)"/>
                        <a:ea typeface="Calibri" panose="020F0502020204030204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50843" marR="50843" marT="12711" marB="12711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Slow – single core</a:t>
                      </a:r>
                      <a:endParaRPr lang="en-US" sz="1400" dirty="0">
                        <a:effectLst/>
                        <a:latin typeface="Segoe UI Light" panose="020B0502040204020203" pitchFamily="34" charset="0"/>
                        <a:ea typeface="Calibri" panose="020F0502020204030204" pitchFamily="34" charset="0"/>
                        <a:cs typeface="Segoe UI Light" panose="020B0502040204020203" pitchFamily="34" charset="0"/>
                      </a:endParaRPr>
                    </a:p>
                  </a:txBody>
                  <a:tcPr marL="50843" marR="50843" marT="12711" marB="12711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Fast - multi-threaded </a:t>
                      </a:r>
                      <a:endParaRPr lang="en-US" sz="1400" dirty="0">
                        <a:effectLst/>
                        <a:latin typeface="Segoe UI Light" panose="020B0502040204020203" pitchFamily="34" charset="0"/>
                        <a:ea typeface="Calibri" panose="020F0502020204030204" pitchFamily="34" charset="0"/>
                        <a:cs typeface="Segoe UI Light" panose="020B0502040204020203" pitchFamily="34" charset="0"/>
                      </a:endParaRPr>
                    </a:p>
                  </a:txBody>
                  <a:tcPr marL="50843" marR="50843" marT="12711" marB="12711" anchor="ctr"/>
                </a:tc>
                <a:extLst>
                  <a:ext uri="{0D108BD9-81ED-4DB2-BD59-A6C34878D82A}">
                    <a16:rowId xmlns:a16="http://schemas.microsoft.com/office/drawing/2014/main" val="3893002225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Segoe UI (Body)"/>
                          <a:cs typeface="Segoe UI Semibold" panose="020B0702040204020203" pitchFamily="34" charset="0"/>
                        </a:rPr>
                        <a:t>Cached Results</a:t>
                      </a:r>
                      <a:endParaRPr lang="en-US" sz="1600" b="0" dirty="0">
                        <a:effectLst/>
                        <a:latin typeface="Segoe UI (Body)"/>
                        <a:ea typeface="Calibri" panose="020F0502020204030204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50843" marR="50843" marT="12711" marB="12711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No</a:t>
                      </a:r>
                      <a:endParaRPr lang="en-US" sz="1400" dirty="0">
                        <a:effectLst/>
                        <a:latin typeface="Segoe UI Light" panose="020B0502040204020203" pitchFamily="34" charset="0"/>
                        <a:ea typeface="Calibri" panose="020F0502020204030204" pitchFamily="34" charset="0"/>
                        <a:cs typeface="Segoe UI Light" panose="020B0502040204020203" pitchFamily="34" charset="0"/>
                      </a:endParaRPr>
                    </a:p>
                  </a:txBody>
                  <a:tcPr marL="50843" marR="50843" marT="12711" marB="12711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Yes</a:t>
                      </a:r>
                      <a:endParaRPr lang="en-US" sz="1400" dirty="0">
                        <a:effectLst/>
                        <a:latin typeface="Segoe UI Light" panose="020B0502040204020203" pitchFamily="34" charset="0"/>
                        <a:ea typeface="Calibri" panose="020F0502020204030204" pitchFamily="34" charset="0"/>
                        <a:cs typeface="Segoe UI Light" panose="020B0502040204020203" pitchFamily="34" charset="0"/>
                      </a:endParaRPr>
                    </a:p>
                  </a:txBody>
                  <a:tcPr marL="50843" marR="50843" marT="12711" marB="12711" anchor="ctr"/>
                </a:tc>
                <a:extLst>
                  <a:ext uri="{0D108BD9-81ED-4DB2-BD59-A6C34878D82A}">
                    <a16:rowId xmlns:a16="http://schemas.microsoft.com/office/drawing/2014/main" val="213325581"/>
                  </a:ext>
                </a:extLst>
              </a:tr>
            </a:tbl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45176DA1-5AEC-A59E-542A-AF157FD3F892}"/>
              </a:ext>
            </a:extLst>
          </p:cNvPr>
          <p:cNvGrpSpPr/>
          <p:nvPr/>
        </p:nvGrpSpPr>
        <p:grpSpPr>
          <a:xfrm>
            <a:off x="4822914" y="4356250"/>
            <a:ext cx="2033438" cy="1745706"/>
            <a:chOff x="2046150" y="3353871"/>
            <a:chExt cx="2848719" cy="2993355"/>
          </a:xfrm>
        </p:grpSpPr>
        <p:pic>
          <p:nvPicPr>
            <p:cNvPr id="8" name="Graphic 7" descr="Muscular arm outline">
              <a:extLst>
                <a:ext uri="{FF2B5EF4-FFF2-40B4-BE49-F238E27FC236}">
                  <a16:creationId xmlns:a16="http://schemas.microsoft.com/office/drawing/2014/main" id="{433496B7-DB5E-8BD2-FAF8-E63BB8D00BA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980469" y="4261413"/>
              <a:ext cx="914400" cy="914400"/>
            </a:xfrm>
            <a:prstGeom prst="rect">
              <a:avLst/>
            </a:prstGeom>
          </p:spPr>
        </p:pic>
        <p:pic>
          <p:nvPicPr>
            <p:cNvPr id="9" name="Graphic 8" descr="Muscular arm outline">
              <a:extLst>
                <a:ext uri="{FF2B5EF4-FFF2-40B4-BE49-F238E27FC236}">
                  <a16:creationId xmlns:a16="http://schemas.microsoft.com/office/drawing/2014/main" id="{ECADC589-8D98-3752-0109-BCBFCCF168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flipH="1">
              <a:off x="2046150" y="4261413"/>
              <a:ext cx="914400" cy="914400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6688D72-6043-AD14-B968-AB4F6EBA6001}"/>
                </a:ext>
              </a:extLst>
            </p:cNvPr>
            <p:cNvSpPr txBox="1"/>
            <p:nvPr/>
          </p:nvSpPr>
          <p:spPr>
            <a:xfrm>
              <a:off x="2046150" y="5819482"/>
              <a:ext cx="2848719" cy="5277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torage Engine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40D7F13-5064-BE8E-F3DF-BEBC932C181A}"/>
                </a:ext>
              </a:extLst>
            </p:cNvPr>
            <p:cNvSpPr txBox="1"/>
            <p:nvPr/>
          </p:nvSpPr>
          <p:spPr>
            <a:xfrm>
              <a:off x="2244409" y="3353871"/>
              <a:ext cx="2446168" cy="5277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ormula Engine</a:t>
              </a:r>
            </a:p>
          </p:txBody>
        </p: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2589BF26-480B-7836-8B24-FF04AE9A82C3}"/>
                </a:ext>
              </a:extLst>
            </p:cNvPr>
            <p:cNvCxnSpPr>
              <a:cxnSpLocks/>
              <a:stCxn id="10" idx="0"/>
            </p:cNvCxnSpPr>
            <p:nvPr/>
          </p:nvCxnSpPr>
          <p:spPr>
            <a:xfrm flipH="1" flipV="1">
              <a:off x="2763078" y="5226288"/>
              <a:ext cx="707431" cy="593194"/>
            </a:xfrm>
            <a:prstGeom prst="straightConnector1">
              <a:avLst/>
            </a:prstGeom>
            <a:ln w="28575"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04FCF4A-F78D-B64B-1938-F2DF0F8CEE29}"/>
                </a:ext>
              </a:extLst>
            </p:cNvPr>
            <p:cNvCxnSpPr>
              <a:cxnSpLocks/>
              <a:stCxn id="10" idx="0"/>
            </p:cNvCxnSpPr>
            <p:nvPr/>
          </p:nvCxnSpPr>
          <p:spPr>
            <a:xfrm flipV="1">
              <a:off x="3470509" y="5203292"/>
              <a:ext cx="696927" cy="616190"/>
            </a:xfrm>
            <a:prstGeom prst="straightConnector1">
              <a:avLst/>
            </a:prstGeom>
            <a:ln w="28575"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899923D8-DC0E-97B6-67E3-C72BE14728EE}"/>
                </a:ext>
              </a:extLst>
            </p:cNvPr>
            <p:cNvCxnSpPr>
              <a:cxnSpLocks/>
              <a:stCxn id="11" idx="2"/>
              <a:endCxn id="15" idx="0"/>
            </p:cNvCxnSpPr>
            <p:nvPr/>
          </p:nvCxnSpPr>
          <p:spPr>
            <a:xfrm flipH="1">
              <a:off x="3465257" y="3881615"/>
              <a:ext cx="2236" cy="352319"/>
            </a:xfrm>
            <a:prstGeom prst="straightConnector1">
              <a:avLst/>
            </a:prstGeom>
            <a:ln w="28575"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7B326BC9-8FC8-1CD2-93AF-C9CB733B644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813439" y="4233934"/>
              <a:ext cx="1303637" cy="1307912"/>
            </a:xfrm>
            <a:prstGeom prst="rect">
              <a:avLst/>
            </a:prstGeom>
          </p:spPr>
        </p:pic>
      </p:grpSp>
      <p:pic>
        <p:nvPicPr>
          <p:cNvPr id="31" name="Picture 30">
            <a:extLst>
              <a:ext uri="{FF2B5EF4-FFF2-40B4-BE49-F238E27FC236}">
                <a16:creationId xmlns:a16="http://schemas.microsoft.com/office/drawing/2014/main" id="{366C6AD0-407F-3D03-4FF3-011ADA0F0BE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54387" y="1522570"/>
            <a:ext cx="754518" cy="409442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6A0619CE-4C05-9321-B08D-ADB68C624F6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22914" y="1540280"/>
            <a:ext cx="754518" cy="391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2627578"/>
      </p:ext>
    </p:extLst>
  </p:cSld>
  <p:clrMapOvr>
    <a:masterClrMapping/>
  </p:clrMapOvr>
  <p:transition>
    <p:fade/>
  </p:transition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8232075-3093-D09D-63A1-56AE166912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6754" y="1253331"/>
            <a:ext cx="10270415" cy="4351338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GB" sz="1800" cap="none" dirty="0">
                <a:solidFill>
                  <a:srgbClr val="2F5496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Factors Affecting </a:t>
            </a:r>
            <a:r>
              <a:rPr lang="en-GB" sz="1800" cap="none" dirty="0" err="1">
                <a:solidFill>
                  <a:srgbClr val="2F5496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ertiPaq</a:t>
            </a:r>
            <a:r>
              <a:rPr lang="en-GB" sz="1800" cap="none" dirty="0">
                <a:solidFill>
                  <a:srgbClr val="2F5496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Model Compression 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(in order of importance)</a:t>
            </a:r>
          </a:p>
          <a:p>
            <a:pPr marL="628650" lvl="1" indent="-285750">
              <a:spcBef>
                <a:spcPts val="1200"/>
              </a:spcBef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Cardinality of the column, which defines the number of bits used to store a value.</a:t>
            </a:r>
          </a:p>
          <a:p>
            <a:pPr marL="1085839" lvl="3" indent="-285750">
              <a:buFontTx/>
              <a:buChar char="-"/>
            </a:pPr>
            <a:r>
              <a:rPr lang="en-US" sz="14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The higher the cardinality of a column, the harder for VertiPaq to optimally compress the data.</a:t>
            </a:r>
            <a:endParaRPr lang="en-US" sz="1600" dirty="0">
              <a:effectLst/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 marL="628650" lvl="1" indent="-285750">
              <a:spcBef>
                <a:spcPts val="1200"/>
              </a:spcBef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The number of repetitions, that is, the distribution of data in a column. </a:t>
            </a:r>
          </a:p>
          <a:p>
            <a:pPr marL="1085839" lvl="3" indent="-285750">
              <a:buFontTx/>
              <a:buChar char="-"/>
            </a:pP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A column with many repeated values will be compressed more than a column with very frequently changing ones</a:t>
            </a: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pPr marL="628650" lvl="1" indent="-285750">
              <a:spcBef>
                <a:spcPts val="1200"/>
              </a:spcBef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The number of rows in the table</a:t>
            </a:r>
          </a:p>
          <a:p>
            <a:pPr marL="1085839" lvl="3" indent="-285750">
              <a:buFontTx/>
              <a:buChar char="-"/>
            </a:pP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Estimate current size and projected growth of your model</a:t>
            </a:r>
          </a:p>
          <a:p>
            <a:pPr marL="628650" lvl="1" indent="-285750">
              <a:spcBef>
                <a:spcPts val="1200"/>
              </a:spcBef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The datatype of the column (which only affect dictionary size)</a:t>
            </a:r>
          </a:p>
          <a:p>
            <a:pPr marL="1085839" lvl="3" indent="-285750">
              <a:buFontTx/>
              <a:buChar char="-"/>
            </a:pPr>
            <a:r>
              <a:rPr lang="en-US" sz="14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Specifying data types improves model size (as well as performance and usability)</a:t>
            </a:r>
            <a:endParaRPr lang="en-US" sz="1600" dirty="0">
              <a:effectLst/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Optimization steps taken to address one factor will often address the others.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For example, a</a:t>
            </a:r>
            <a:r>
              <a:rPr lang="en-US" sz="1600" dirty="0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 column optimized for cardinality will invariably lead to more value repetition and therefore better compression.</a:t>
            </a:r>
            <a:endParaRPr lang="en-US" sz="1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en-US" sz="18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29315F-93BB-3010-27C1-5C8C94947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>
                <a:latin typeface="Segoe UI (Body)"/>
              </a:rPr>
              <a:t>Optimizing Compression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F98766-A59A-5861-CD97-4789896A56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8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78164"/>
      </p:ext>
    </p:extLst>
  </p:cSld>
  <p:clrMapOvr>
    <a:masterClrMapping/>
  </p:clrMapOvr>
  <p:transition>
    <p:fade/>
  </p:transition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8232075-3093-D09D-63A1-56AE166912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0470" y="1038480"/>
            <a:ext cx="10340737" cy="1596752"/>
          </a:xfrm>
        </p:spPr>
        <p:txBody>
          <a:bodyPr/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dirty="0">
                <a:solidFill>
                  <a:srgbClr val="2F5496"/>
                </a:solidFill>
                <a:effectLst/>
                <a:latin typeface="Segoe UI Semibold" panose="020B0702040204020203" pitchFamily="34" charset="0"/>
                <a:ea typeface="Calibri" panose="020F0502020204030204" pitchFamily="34" charset="0"/>
                <a:cs typeface="Segoe UI Semibold" panose="020B0702040204020203" pitchFamily="34" charset="0"/>
              </a:rPr>
              <a:t>Query folding </a:t>
            </a:r>
            <a:r>
              <a:rPr lang="en-US" sz="16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(QF) is the mechanism by which Power BI generates a single query statement to </a:t>
            </a:r>
          </a:p>
          <a:p>
            <a:pPr marL="628650" lvl="1" indent="-28575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b="1" dirty="0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O</a:t>
            </a:r>
            <a:r>
              <a:rPr lang="en-US" sz="1600" b="1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ffload or push query evaluation and data transformations to the data source</a:t>
            </a:r>
            <a:r>
              <a:rPr lang="en-US" sz="16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 and</a:t>
            </a:r>
          </a:p>
          <a:p>
            <a:pPr marL="628650" lvl="1" indent="-28575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Provide </a:t>
            </a:r>
            <a:r>
              <a:rPr lang="en-US" sz="1600" b="1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a much faster query execution </a:t>
            </a:r>
            <a:r>
              <a:rPr lang="en-US" sz="16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than extracting all the required data from your data source and running all transformations required in the Power Query engine. 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29315F-93BB-3010-27C1-5C8C94947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cap="none" dirty="0">
                <a:latin typeface="Segoe UI (Body)"/>
              </a:rPr>
              <a:t>Query Folding</a:t>
            </a:r>
            <a:endParaRPr lang="en-US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F98766-A59A-5861-CD97-4789896A56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84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1A7E007-BB82-A38B-8EE1-127D4C978B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28219" y="2647742"/>
            <a:ext cx="6484585" cy="4263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695309"/>
      </p:ext>
    </p:extLst>
  </p:cSld>
  <p:clrMapOvr>
    <a:masterClrMapping/>
  </p:clrMapOvr>
  <p:transition>
    <p:fade/>
  </p:transition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7DF45EC0-5AE5-3FC3-0EFA-7455783D3F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1233" y="1379608"/>
            <a:ext cx="4586568" cy="4351338"/>
          </a:xfrm>
        </p:spPr>
        <p:txBody>
          <a:bodyPr/>
          <a:lstStyle/>
          <a:p>
            <a:pPr marL="400050" indent="-285750" defTabSz="914400">
              <a:lnSpc>
                <a:spcPct val="100000"/>
              </a:lnSpc>
              <a:spcBef>
                <a:spcPts val="60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0563C1"/>
                </a:solidFill>
                <a:effectLst/>
                <a:uLnTx/>
                <a:uFillTx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Transformations that can achieve fold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00050" indent="-285750" defTabSz="914400">
              <a:lnSpc>
                <a:spcPct val="100000"/>
              </a:lnSpc>
              <a:spcBef>
                <a:spcPts val="60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0563C1"/>
                </a:solidFill>
                <a:effectLst/>
                <a:uLnTx/>
                <a:uFillTx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4"/>
              </a:rPr>
              <a:t>Transformations that prevent fold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00050" indent="-285750" defTabSz="914400">
              <a:lnSpc>
                <a:spcPct val="100000"/>
              </a:lnSpc>
              <a:spcBef>
                <a:spcPts val="60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0563C1"/>
                </a:solidFill>
                <a:effectLst/>
                <a:uLnTx/>
                <a:uFillTx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5"/>
              </a:rPr>
              <a:t>Determine when a query can be folded</a:t>
            </a:r>
            <a:endParaRPr lang="en-US" sz="1800" u="sng" dirty="0">
              <a:solidFill>
                <a:srgbClr val="0563C1"/>
              </a:solidFill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00050" indent="-285750" defTabSz="914400">
              <a:lnSpc>
                <a:spcPct val="100000"/>
              </a:lnSpc>
              <a:spcBef>
                <a:spcPts val="60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1800" u="sng" dirty="0">
                <a:solidFill>
                  <a:srgbClr val="0563C1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6"/>
              </a:rPr>
              <a:t>Query folding indicators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00050" indent="-285750" defTabSz="914400">
              <a:lnSpc>
                <a:spcPct val="100000"/>
              </a:lnSpc>
              <a:spcBef>
                <a:spcPts val="60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1800" u="sng" dirty="0">
                <a:solidFill>
                  <a:srgbClr val="0563C1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7"/>
              </a:rPr>
              <a:t>Query folding examples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00050" indent="-285750" defTabSz="914400">
              <a:lnSpc>
                <a:spcPct val="100000"/>
              </a:lnSpc>
              <a:spcBef>
                <a:spcPts val="60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1800" u="sng" dirty="0">
                <a:solidFill>
                  <a:srgbClr val="0563C1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8"/>
              </a:rPr>
              <a:t>Query Plan (Preview feature)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00050" indent="-285750" defTabSz="9144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SzTx/>
              <a:buFont typeface="Arial" panose="020B0604020202020204" pitchFamily="34" charset="0"/>
              <a:buChar char="•"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29315F-93BB-3010-27C1-5C8C94947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cap="none" dirty="0">
                <a:latin typeface="Segoe UI (Body)"/>
              </a:rPr>
              <a:t>Query Folding</a:t>
            </a:r>
            <a:endParaRPr lang="en-US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F98766-A59A-5861-CD97-4789896A56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85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FF3BAAF-0040-4EAF-CACC-7B1D643DB7AD}"/>
              </a:ext>
            </a:extLst>
          </p:cNvPr>
          <p:cNvSpPr txBox="1"/>
          <p:nvPr/>
        </p:nvSpPr>
        <p:spPr>
          <a:xfrm>
            <a:off x="8607287" y="6231135"/>
            <a:ext cx="221974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hlinkClick r:id="rId9"/>
              </a:rPr>
              <a:t>Exploring Query Folding</a:t>
            </a:r>
            <a:endParaRPr lang="en-US" sz="1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831D984-4B44-1BB4-6208-17A89E0B993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3881" y="1379608"/>
            <a:ext cx="5737326" cy="307638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32898529"/>
      </p:ext>
    </p:extLst>
  </p:cSld>
  <p:clrMapOvr>
    <a:masterClrMapping/>
  </p:clrMapOvr>
  <p:transition>
    <p:fade/>
  </p:transition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6566A0-9C80-E89C-14C8-4C39C185E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5115" y="2027598"/>
            <a:ext cx="4548067" cy="498598"/>
          </a:xfrm>
        </p:spPr>
        <p:txBody>
          <a:bodyPr/>
          <a:lstStyle/>
          <a:p>
            <a:r>
              <a:rPr lang="en-US" cap="none" dirty="0">
                <a:latin typeface="+mn-lt"/>
              </a:rPr>
              <a:t>Module 7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47C03D-4EE7-5C3E-845B-DBDED40F8D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25115" y="3089750"/>
            <a:ext cx="4548068" cy="1231106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4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Power BI Modeling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4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Best Practic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364D75B-1B87-5687-157F-0CA8F48133D7}"/>
              </a:ext>
            </a:extLst>
          </p:cNvPr>
          <p:cNvGrpSpPr/>
          <p:nvPr/>
        </p:nvGrpSpPr>
        <p:grpSpPr>
          <a:xfrm>
            <a:off x="3825115" y="516429"/>
            <a:ext cx="4548068" cy="1062152"/>
            <a:chOff x="3825115" y="516429"/>
            <a:chExt cx="4548068" cy="1062152"/>
          </a:xfrm>
        </p:grpSpPr>
        <p:sp>
          <p:nvSpPr>
            <p:cNvPr id="8" name="Text Placeholder 1">
              <a:extLst>
                <a:ext uri="{FF2B5EF4-FFF2-40B4-BE49-F238E27FC236}">
                  <a16:creationId xmlns:a16="http://schemas.microsoft.com/office/drawing/2014/main" id="{10836EA4-047D-5360-6970-88848D530EB3}"/>
                </a:ext>
              </a:extLst>
            </p:cNvPr>
            <p:cNvSpPr txBox="1">
              <a:spLocks/>
            </p:cNvSpPr>
            <p:nvPr/>
          </p:nvSpPr>
          <p:spPr>
            <a:xfrm>
              <a:off x="4709287" y="516429"/>
              <a:ext cx="1570601" cy="498598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2400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9" name="Title 3">
              <a:extLst>
                <a:ext uri="{FF2B5EF4-FFF2-40B4-BE49-F238E27FC236}">
                  <a16:creationId xmlns:a16="http://schemas.microsoft.com/office/drawing/2014/main" id="{56BFF73F-5A37-4BC8-019F-6A8097A74AAC}"/>
                </a:ext>
              </a:extLst>
            </p:cNvPr>
            <p:cNvSpPr txBox="1">
              <a:spLocks/>
            </p:cNvSpPr>
            <p:nvPr/>
          </p:nvSpPr>
          <p:spPr>
            <a:xfrm>
              <a:off x="4444791" y="1015027"/>
              <a:ext cx="3928392" cy="4985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cap="none" dirty="0">
                  <a:solidFill>
                    <a:srgbClr val="FED112"/>
                  </a:solidFill>
                </a:rPr>
                <a:t>Power BI </a:t>
              </a:r>
              <a:r>
                <a:rPr lang="en-US" sz="2800" cap="none" dirty="0">
                  <a:solidFill>
                    <a:schemeClr val="tx1"/>
                  </a:solidFill>
                </a:rPr>
                <a:t>Training</a:t>
              </a:r>
              <a:endParaRPr lang="en-US" sz="2800" dirty="0">
                <a:solidFill>
                  <a:schemeClr val="tx1"/>
                </a:solidFill>
              </a:endParaRPr>
            </a:p>
          </p:txBody>
        </p:sp>
        <p:pic>
          <p:nvPicPr>
            <p:cNvPr id="10" name="Picture 9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549E3E53-7AF6-0DBC-4FD2-D632774E34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25115" y="950072"/>
              <a:ext cx="943368" cy="6285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8426284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8232075-3093-D09D-63A1-56AE166912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4341" y="1109630"/>
            <a:ext cx="10494958" cy="5495996"/>
          </a:xfrm>
        </p:spPr>
        <p:txBody>
          <a:bodyPr/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Apply the following recommendations to take full advantage of the </a:t>
            </a:r>
            <a:r>
              <a:rPr lang="en-US" sz="1800" dirty="0" err="1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VertiPaq</a:t>
            </a:r>
            <a:r>
              <a:rPr lang="en-US" sz="18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 engine compression and reduce the physical size of your model</a:t>
            </a:r>
          </a:p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800" b="1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Push transformations </a:t>
            </a:r>
            <a:r>
              <a:rPr lang="en-US" sz="18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to data sources through Query Folding or using views</a:t>
            </a:r>
            <a:endParaRPr lang="en-US" sz="1800" b="1" dirty="0">
              <a:effectLst/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800" b="1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Remove unused tables and columns</a:t>
            </a:r>
          </a:p>
          <a:p>
            <a:pPr marL="1005840" lvl="2" indent="-285750">
              <a:spcBef>
                <a:spcPts val="300"/>
              </a:spcBef>
              <a:spcAft>
                <a:spcPts val="300"/>
              </a:spcAft>
              <a:buFont typeface="Segoe UI Light" panose="020B0502040204020203" pitchFamily="34" charset="0"/>
              <a:buChar char="-"/>
            </a:pPr>
            <a:r>
              <a:rPr lang="en-US" sz="16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Only keep columns that will be used in the data model / reports</a:t>
            </a:r>
          </a:p>
          <a:p>
            <a:pPr marL="1005840" lvl="2" indent="-285750">
              <a:spcBef>
                <a:spcPts val="300"/>
              </a:spcBef>
              <a:spcAft>
                <a:spcPts val="300"/>
              </a:spcAft>
              <a:buFont typeface="Segoe UI Light" panose="020B0502040204020203" pitchFamily="34" charset="0"/>
              <a:buChar char="-"/>
            </a:pPr>
            <a:r>
              <a:rPr lang="en-US" sz="16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Delete/Hide unused columns, remove or disable load of unused or intermediary tables</a:t>
            </a:r>
            <a:endParaRPr lang="en-US" sz="1800" dirty="0">
              <a:effectLst/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800" b="1" dirty="0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Filter early</a:t>
            </a:r>
            <a:r>
              <a:rPr lang="en-US" sz="1800" b="1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 &amp; Filter often</a:t>
            </a:r>
          </a:p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800" b="1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Split high cardinality column </a:t>
            </a:r>
            <a:r>
              <a:rPr lang="en-US" sz="18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such as </a:t>
            </a:r>
            <a:r>
              <a:rPr lang="en-US" sz="1800" dirty="0" err="1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DateTime</a:t>
            </a:r>
            <a:r>
              <a:rPr lang="en-US" sz="18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 and decimal numbers into two distinct columns</a:t>
            </a:r>
          </a:p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800" b="1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Disable unneeded hierarchies </a:t>
            </a:r>
            <a:r>
              <a:rPr lang="en-US" sz="18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which would otherwise be optimized to support MDX queries.</a:t>
            </a:r>
          </a:p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800" b="1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Disable Auto Date/Time in Options</a:t>
            </a:r>
          </a:p>
          <a:p>
            <a:pPr marL="1005840" lvl="2" indent="-285750">
              <a:spcBef>
                <a:spcPts val="300"/>
              </a:spcBef>
              <a:spcAft>
                <a:spcPts val="300"/>
              </a:spcAft>
              <a:buFont typeface="Segoe UI Light" panose="020B0502040204020203" pitchFamily="34" charset="0"/>
              <a:buChar char="-"/>
            </a:pPr>
            <a:r>
              <a:rPr lang="en-US" sz="1600" dirty="0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Otherwise, Power BI creates a hidden “</a:t>
            </a:r>
            <a:r>
              <a:rPr lang="en-US" sz="1600" dirty="0" err="1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LocalDateTable</a:t>
            </a:r>
            <a:r>
              <a:rPr lang="en-US" sz="1600" dirty="0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” for every single date value</a:t>
            </a:r>
          </a:p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800" b="1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Consider rolling up data to lower levels of granularity </a:t>
            </a:r>
          </a:p>
          <a:p>
            <a:pPr marL="1005840" lvl="2" indent="-285750">
              <a:spcBef>
                <a:spcPts val="300"/>
              </a:spcBef>
              <a:spcAft>
                <a:spcPts val="300"/>
              </a:spcAft>
              <a:buFont typeface="Segoe UI Light" panose="020B0502040204020203" pitchFamily="34" charset="0"/>
              <a:buChar char="-"/>
            </a:pPr>
            <a:r>
              <a:rPr lang="en-US" sz="1600" dirty="0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This is typically achieved through time, product and other business hierarchies</a:t>
            </a:r>
          </a:p>
          <a:p>
            <a:pPr marL="1005840" lvl="2" indent="-285750">
              <a:spcBef>
                <a:spcPts val="300"/>
              </a:spcBef>
              <a:spcAft>
                <a:spcPts val="300"/>
              </a:spcAft>
              <a:buFont typeface="Segoe UI Light" panose="020B0502040204020203" pitchFamily="34" charset="0"/>
              <a:buChar char="-"/>
            </a:pPr>
            <a:r>
              <a:rPr lang="en-US" sz="1600" dirty="0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Historical data is often a good candidate for aggregation at a lower level of granularity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600" dirty="0">
              <a:effectLst/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29315F-93BB-3010-27C1-5C8C94947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>
                <a:latin typeface="Segoe UI (Body)"/>
              </a:rPr>
              <a:t>Optimizing Compression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F98766-A59A-5861-CD97-4789896A56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8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351922"/>
      </p:ext>
    </p:extLst>
  </p:cSld>
  <p:clrMapOvr>
    <a:masterClrMapping/>
  </p:clrMapOvr>
  <p:transition>
    <p:fade/>
  </p:transition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8232075-3093-D09D-63A1-56AE166912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4132" y="1221822"/>
            <a:ext cx="10270415" cy="5499653"/>
          </a:xfrm>
        </p:spPr>
        <p:txBody>
          <a:bodyPr/>
          <a:lstStyle/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 startAt="6"/>
            </a:pPr>
            <a:r>
              <a:rPr lang="en-US" sz="1800" b="1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Limit the use of calculated columns </a:t>
            </a:r>
            <a:r>
              <a:rPr lang="en-US" sz="18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which, as opposed to measures, are stored in the model</a:t>
            </a:r>
          </a:p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 startAt="6"/>
            </a:pPr>
            <a:r>
              <a:rPr lang="en-US" sz="1800" b="1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Introduce calculated columns before compression </a:t>
            </a:r>
            <a:r>
              <a:rPr lang="en-US" sz="18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so that they can be included in the sort order evaluation</a:t>
            </a:r>
          </a:p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 startAt="6"/>
            </a:pPr>
            <a:r>
              <a:rPr lang="en-US" sz="1800" b="1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Shorten values </a:t>
            </a:r>
            <a:r>
              <a:rPr lang="en-US" sz="18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wherever possible:</a:t>
            </a:r>
          </a:p>
          <a:p>
            <a:pPr marL="1005840" lvl="2" indent="-285750">
              <a:spcBef>
                <a:spcPts val="300"/>
              </a:spcBef>
              <a:buFont typeface="Segoe UI Light" panose="020B0502040204020203" pitchFamily="34" charset="0"/>
              <a:buChar char="-"/>
            </a:pPr>
            <a:r>
              <a:rPr lang="en-US" sz="1600" dirty="0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Transform </a:t>
            </a:r>
            <a:r>
              <a:rPr lang="en-US" sz="1600" dirty="0" err="1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DateTime</a:t>
            </a:r>
            <a:r>
              <a:rPr lang="en-US" sz="1600" dirty="0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 to Date</a:t>
            </a:r>
          </a:p>
          <a:p>
            <a:pPr marL="1005840" lvl="2" indent="-285750">
              <a:spcBef>
                <a:spcPts val="300"/>
              </a:spcBef>
              <a:buFont typeface="Segoe UI Light" panose="020B0502040204020203" pitchFamily="34" charset="0"/>
              <a:buChar char="-"/>
            </a:pPr>
            <a:r>
              <a:rPr lang="en-US" sz="1600" dirty="0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Replace blank values with NULL</a:t>
            </a:r>
          </a:p>
          <a:p>
            <a:pPr marL="1005840" lvl="2" indent="-285750">
              <a:spcBef>
                <a:spcPts val="300"/>
              </a:spcBef>
              <a:buFont typeface="Segoe UI Light" panose="020B0502040204020203" pitchFamily="34" charset="0"/>
              <a:buChar char="-"/>
            </a:pPr>
            <a:r>
              <a:rPr lang="en-US" sz="1600" dirty="0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Remove unnecessary blank spaces</a:t>
            </a:r>
          </a:p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 startAt="6"/>
            </a:pPr>
            <a:r>
              <a:rPr lang="en-US" sz="1800" b="1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Specify data types</a:t>
            </a:r>
            <a:r>
              <a:rPr lang="en-US" sz="18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 to improve model size, performance and usability</a:t>
            </a:r>
          </a:p>
          <a:p>
            <a:pPr marL="1005840" lvl="2" indent="-285750">
              <a:spcBef>
                <a:spcPts val="300"/>
              </a:spcBef>
              <a:buFont typeface="Segoe UI Light" panose="020B0502040204020203" pitchFamily="34" charset="0"/>
              <a:buChar char="-"/>
            </a:pPr>
            <a:r>
              <a:rPr lang="en-US" sz="1600" dirty="0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Use integers instead of strings, wherever possible</a:t>
            </a:r>
          </a:p>
          <a:p>
            <a:pPr marL="1005840" lvl="2" indent="-285750">
              <a:spcBef>
                <a:spcPts val="300"/>
              </a:spcBef>
              <a:buFont typeface="Segoe UI Light" panose="020B0502040204020203" pitchFamily="34" charset="0"/>
              <a:buChar char="-"/>
            </a:pPr>
            <a:r>
              <a:rPr lang="en-US" sz="1600" dirty="0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Use fixed decimal numbers instead of decimal numbers</a:t>
            </a:r>
          </a:p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 startAt="6"/>
            </a:pPr>
            <a:r>
              <a:rPr lang="en-US" sz="1800" dirty="0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Where applicable, </a:t>
            </a:r>
            <a:r>
              <a:rPr lang="en-US" sz="1800" b="1" dirty="0"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a</a:t>
            </a:r>
            <a:r>
              <a:rPr lang="en-US" sz="1800" b="1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ggregate table rows</a:t>
            </a:r>
          </a:p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 startAt="6"/>
            </a:pPr>
            <a:r>
              <a:rPr lang="en-US" sz="18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Optimize data processing by using data segment sizes that achieve optimal parallelism and compression.  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600" dirty="0">
              <a:effectLst/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29315F-93BB-3010-27C1-5C8C94947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>
                <a:latin typeface="Segoe UI (Body)"/>
              </a:rPr>
              <a:t>Optimizing Compression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F98766-A59A-5861-CD97-4789896A56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8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733302"/>
      </p:ext>
    </p:extLst>
  </p:cSld>
  <p:clrMapOvr>
    <a:masterClrMapping/>
  </p:clrMapOvr>
  <p:transition>
    <p:fade/>
  </p:transition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8232075-3093-D09D-63A1-56AE166912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6754" y="1253331"/>
            <a:ext cx="10270415" cy="4882426"/>
          </a:xfrm>
        </p:spPr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Segment size is an important factor at both compression and at query time:</a:t>
            </a:r>
          </a:p>
          <a:p>
            <a:pPr marL="685800" lvl="1">
              <a:lnSpc>
                <a:spcPct val="107000"/>
              </a:lnSpc>
              <a:spcBef>
                <a:spcPts val="0"/>
              </a:spcBef>
              <a:buSzPct val="80000"/>
              <a:buFont typeface="Symbol" panose="05050102010706020507" pitchFamily="18" charset="2"/>
              <a:buChar char=""/>
            </a:pPr>
            <a:r>
              <a:rPr lang="en-US" sz="16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The tabular engine reads a segment and starts compressing it while reading the next one.</a:t>
            </a:r>
          </a:p>
          <a:p>
            <a:pPr marL="685800"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SzPct val="80000"/>
              <a:buFont typeface="Symbol" panose="05050102010706020507" pitchFamily="18" charset="2"/>
              <a:buChar char=""/>
            </a:pPr>
            <a:r>
              <a:rPr lang="en-US" sz="16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The tabular engine also uses the segments at query time to read in parallel across cores.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600" dirty="0"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600" dirty="0"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600" dirty="0"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600" dirty="0">
              <a:effectLst/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To optimize data processing, 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b="1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Tabular (Analysis Services, PBI Premium)</a:t>
            </a:r>
            <a:r>
              <a:rPr lang="en-US" sz="16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, by default, processes the data in segments of </a:t>
            </a:r>
            <a:r>
              <a:rPr lang="en-US" sz="1600" b="1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8 million rows</a:t>
            </a:r>
            <a:r>
              <a:rPr lang="en-US" sz="16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.   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However, 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b="1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Power BI Desktop and PowerPivot </a:t>
            </a:r>
            <a:r>
              <a:rPr lang="en-US" sz="16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are optimized for smaller datasets and their segment’s default size of </a:t>
            </a:r>
            <a:r>
              <a:rPr lang="en-US" sz="1600" b="1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1 million rows</a:t>
            </a:r>
            <a:r>
              <a:rPr lang="en-US" sz="1600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 cannot be changed.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b="1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Models created through Power BI dataset can be optimized for larger dataset by using external tools such as Tabular Editor to override the logic that was originally selected (based on a smaller sample/segment)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29315F-93BB-3010-27C1-5C8C94947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>
                <a:latin typeface="Segoe UI (Body)"/>
              </a:rPr>
              <a:t>Optimizing Data Segment Siz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F98766-A59A-5861-CD97-4789896A56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89</a:t>
            </a:fld>
            <a:endParaRPr lang="en-US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7269BAC0-E5C1-5EFC-F6A2-A5D0E81B3CD5}"/>
              </a:ext>
            </a:extLst>
          </p:cNvPr>
          <p:cNvGraphicFramePr>
            <a:graphicFrameLocks noGrp="1"/>
          </p:cNvGraphicFramePr>
          <p:nvPr/>
        </p:nvGraphicFramePr>
        <p:xfrm>
          <a:off x="1696278" y="2402693"/>
          <a:ext cx="6692348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52870">
                  <a:extLst>
                    <a:ext uri="{9D8B030D-6E8A-4147-A177-3AD203B41FA5}">
                      <a16:colId xmlns:a16="http://schemas.microsoft.com/office/drawing/2014/main" val="2334893149"/>
                    </a:ext>
                  </a:extLst>
                </a:gridCol>
                <a:gridCol w="2073965">
                  <a:extLst>
                    <a:ext uri="{9D8B030D-6E8A-4147-A177-3AD203B41FA5}">
                      <a16:colId xmlns:a16="http://schemas.microsoft.com/office/drawing/2014/main" val="2256054430"/>
                    </a:ext>
                  </a:extLst>
                </a:gridCol>
                <a:gridCol w="2365513">
                  <a:extLst>
                    <a:ext uri="{9D8B030D-6E8A-4147-A177-3AD203B41FA5}">
                      <a16:colId xmlns:a16="http://schemas.microsoft.com/office/drawing/2014/main" val="3102074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Segment Siz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Advant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Impa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31921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1" dirty="0"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Segoe UI Light" panose="020B0502040204020203" pitchFamily="34" charset="0"/>
                        </a:rPr>
                        <a:t>Larger segment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Segoe UI Light" panose="020B0502040204020203" pitchFamily="34" charset="0"/>
                        </a:rPr>
                        <a:t>better compression</a:t>
                      </a:r>
                      <a:r>
                        <a:rPr lang="en-US" sz="1600" dirty="0"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Segoe UI Light" panose="020B0502040204020203" pitchFamily="34" charset="0"/>
                        </a:rPr>
                        <a:t> 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Segoe UI Light" panose="020B0502040204020203" pitchFamily="34" charset="0"/>
                        </a:rPr>
                        <a:t>more compression time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9087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1" dirty="0"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Segoe UI Light" panose="020B0502040204020203" pitchFamily="34" charset="0"/>
                        </a:rPr>
                        <a:t>Smaller segment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Segoe UI Light" panose="020B0502040204020203" pitchFamily="34" charset="0"/>
                        </a:rPr>
                        <a:t>more parallelism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Segoe UI Light" panose="020B0502040204020203" pitchFamily="34" charset="0"/>
                        </a:rPr>
                        <a:t>more query time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59348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007725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ight Arrow 8">
            <a:extLst>
              <a:ext uri="{FF2B5EF4-FFF2-40B4-BE49-F238E27FC236}">
                <a16:creationId xmlns:a16="http://schemas.microsoft.com/office/drawing/2014/main" id="{B9A4CEB3-E4D0-7A04-BFB4-B439D5F0522C}"/>
              </a:ext>
            </a:extLst>
          </p:cNvPr>
          <p:cNvSpPr/>
          <p:nvPr/>
        </p:nvSpPr>
        <p:spPr bwMode="auto">
          <a:xfrm>
            <a:off x="2960942" y="3292724"/>
            <a:ext cx="435853" cy="533400"/>
          </a:xfrm>
          <a:prstGeom prst="rightArrow">
            <a:avLst/>
          </a:prstGeom>
          <a:solidFill>
            <a:srgbClr val="DDDDDD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9" name="Right Arrow 16">
            <a:extLst>
              <a:ext uri="{FF2B5EF4-FFF2-40B4-BE49-F238E27FC236}">
                <a16:creationId xmlns:a16="http://schemas.microsoft.com/office/drawing/2014/main" id="{322A1172-251B-0E2C-6347-8F44F6F5AF7B}"/>
              </a:ext>
            </a:extLst>
          </p:cNvPr>
          <p:cNvSpPr/>
          <p:nvPr/>
        </p:nvSpPr>
        <p:spPr bwMode="auto">
          <a:xfrm>
            <a:off x="5707319" y="3264847"/>
            <a:ext cx="434936" cy="533400"/>
          </a:xfrm>
          <a:prstGeom prst="rightArrow">
            <a:avLst/>
          </a:prstGeom>
          <a:solidFill>
            <a:srgbClr val="DDDDDD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Right Arrow 17">
            <a:extLst>
              <a:ext uri="{FF2B5EF4-FFF2-40B4-BE49-F238E27FC236}">
                <a16:creationId xmlns:a16="http://schemas.microsoft.com/office/drawing/2014/main" id="{4DB92A35-569D-47A5-CB5F-19FF085E4521}"/>
              </a:ext>
            </a:extLst>
          </p:cNvPr>
          <p:cNvSpPr/>
          <p:nvPr/>
        </p:nvSpPr>
        <p:spPr bwMode="auto">
          <a:xfrm>
            <a:off x="8450792" y="3250199"/>
            <a:ext cx="445897" cy="533400"/>
          </a:xfrm>
          <a:prstGeom prst="rightArrow">
            <a:avLst/>
          </a:prstGeom>
          <a:solidFill>
            <a:srgbClr val="DDDDDD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2A39FB8F-B1B9-419A-BFE7-1BFA308C87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9824" y="537729"/>
            <a:ext cx="7763317" cy="545539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800" cap="none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Power BI Desktop Developme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B03249-CDD8-45D7-4B40-2D29636E4384}"/>
              </a:ext>
            </a:extLst>
          </p:cNvPr>
          <p:cNvSpPr txBox="1"/>
          <p:nvPr/>
        </p:nvSpPr>
        <p:spPr>
          <a:xfrm>
            <a:off x="6142254" y="4032796"/>
            <a:ext cx="3058436" cy="141269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alculated columns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easures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ssing relationships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2">
                    <a:lumMod val="75000"/>
                  </a:schemeClr>
                </a:solidFill>
              </a:rPr>
              <a:t>Create Local &amp; DAX Tab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8F5724A-DFD3-2AC9-9CD3-B4EB657EC3D2}"/>
              </a:ext>
            </a:extLst>
          </p:cNvPr>
          <p:cNvSpPr/>
          <p:nvPr/>
        </p:nvSpPr>
        <p:spPr bwMode="auto">
          <a:xfrm>
            <a:off x="6150608" y="2998210"/>
            <a:ext cx="2248480" cy="1067406"/>
          </a:xfrm>
          <a:prstGeom prst="rect">
            <a:avLst/>
          </a:prstGeom>
          <a:solidFill>
            <a:srgbClr val="505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Model </a:t>
            </a:r>
          </a:p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Enhancemen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A883441-0468-C47F-D3A0-485B2032334F}"/>
              </a:ext>
            </a:extLst>
          </p:cNvPr>
          <p:cNvSpPr/>
          <p:nvPr/>
        </p:nvSpPr>
        <p:spPr bwMode="auto">
          <a:xfrm>
            <a:off x="8948393" y="2998210"/>
            <a:ext cx="2248480" cy="1038109"/>
          </a:xfrm>
          <a:prstGeom prst="rect">
            <a:avLst/>
          </a:prstGeom>
          <a:solidFill>
            <a:srgbClr val="505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Visual Build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298C7AE-937B-3669-BF5E-CEFB3492ED9D}"/>
              </a:ext>
            </a:extLst>
          </p:cNvPr>
          <p:cNvSpPr txBox="1"/>
          <p:nvPr/>
        </p:nvSpPr>
        <p:spPr>
          <a:xfrm>
            <a:off x="8989919" y="4065982"/>
            <a:ext cx="2298945" cy="7386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valuate measures and build visual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32708495-24E6-5D89-4125-ECB753FC59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3839" y="2096805"/>
            <a:ext cx="1219521" cy="79268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9338A7C9-BFC3-10F4-59E6-0B7A8AA7734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9784"/>
          <a:stretch/>
        </p:blipFill>
        <p:spPr>
          <a:xfrm>
            <a:off x="9231798" y="2096806"/>
            <a:ext cx="1406189" cy="7467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5C571588-E4D1-B5D8-4033-D74D587B414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91891" y="2007061"/>
            <a:ext cx="419658" cy="94811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F9A2356D-BDD8-793A-C34A-28D51EC65DF4}"/>
              </a:ext>
            </a:extLst>
          </p:cNvPr>
          <p:cNvSpPr txBox="1"/>
          <p:nvPr/>
        </p:nvSpPr>
        <p:spPr>
          <a:xfrm>
            <a:off x="578812" y="1383678"/>
            <a:ext cx="627126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4 Phases in Building a Power BI Desktop File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60887E99-D172-02B3-30AA-22CFF567640E}"/>
              </a:ext>
            </a:extLst>
          </p:cNvPr>
          <p:cNvGrpSpPr/>
          <p:nvPr/>
        </p:nvGrpSpPr>
        <p:grpSpPr>
          <a:xfrm>
            <a:off x="822374" y="2983196"/>
            <a:ext cx="2146300" cy="2499764"/>
            <a:chOff x="563294" y="2983197"/>
            <a:chExt cx="2146300" cy="2499764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0707DBD3-C39E-59BD-E40D-73D8F3C6BE3D}"/>
                </a:ext>
              </a:extLst>
            </p:cNvPr>
            <p:cNvSpPr txBox="1"/>
            <p:nvPr/>
          </p:nvSpPr>
          <p:spPr>
            <a:xfrm>
              <a:off x="563294" y="4070267"/>
              <a:ext cx="2146300" cy="141269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/>
                <a:t>Create query in “M”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/>
                <a:t>ETL Process</a:t>
              </a:r>
            </a:p>
            <a:p>
              <a:pPr marL="285750" indent="-285750">
                <a:lnSpc>
                  <a:spcPct val="9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US" sz="1600" dirty="0"/>
            </a:p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n-US" sz="1600" dirty="0"/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326DA156-F76A-B7E6-A8A3-C514E3A15125}"/>
                </a:ext>
              </a:extLst>
            </p:cNvPr>
            <p:cNvSpPr/>
            <p:nvPr/>
          </p:nvSpPr>
          <p:spPr bwMode="auto">
            <a:xfrm>
              <a:off x="589566" y="2983197"/>
              <a:ext cx="2039334" cy="1067406"/>
            </a:xfrm>
            <a:prstGeom prst="rect">
              <a:avLst/>
            </a:prstGeom>
            <a:solidFill>
              <a:srgbClr val="505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Get Data</a:t>
              </a: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78BD6AE0-000F-D954-CA81-CA0CC765C2C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4626" y="2213811"/>
            <a:ext cx="2360320" cy="639804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44" name="Group 43">
            <a:extLst>
              <a:ext uri="{FF2B5EF4-FFF2-40B4-BE49-F238E27FC236}">
                <a16:creationId xmlns:a16="http://schemas.microsoft.com/office/drawing/2014/main" id="{4EE7F5E4-2B7D-0643-3305-C650CBC7257E}"/>
              </a:ext>
            </a:extLst>
          </p:cNvPr>
          <p:cNvGrpSpPr/>
          <p:nvPr/>
        </p:nvGrpSpPr>
        <p:grpSpPr>
          <a:xfrm>
            <a:off x="3178869" y="2998210"/>
            <a:ext cx="2963385" cy="2153730"/>
            <a:chOff x="2919789" y="2998211"/>
            <a:chExt cx="2963385" cy="215373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F5F4A06-0B1D-BEC8-E1E9-EB3B9E6F1E82}"/>
                </a:ext>
              </a:extLst>
            </p:cNvPr>
            <p:cNvSpPr/>
            <p:nvPr/>
          </p:nvSpPr>
          <p:spPr bwMode="auto">
            <a:xfrm>
              <a:off x="3145447" y="2998211"/>
              <a:ext cx="2248480" cy="1067406"/>
            </a:xfrm>
            <a:prstGeom prst="rect">
              <a:avLst/>
            </a:prstGeom>
            <a:solidFill>
              <a:srgbClr val="505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Model </a:t>
              </a:r>
            </a:p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Creation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781C4048-0272-C7E4-9DEF-0E8AED9C2980}"/>
                </a:ext>
              </a:extLst>
            </p:cNvPr>
            <p:cNvSpPr txBox="1"/>
            <p:nvPr/>
          </p:nvSpPr>
          <p:spPr>
            <a:xfrm>
              <a:off x="2919789" y="4037790"/>
              <a:ext cx="2963385" cy="1114151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marL="285750" indent="-285750">
                <a:lnSpc>
                  <a:spcPct val="9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Data compression</a:t>
              </a:r>
            </a:p>
            <a:p>
              <a:pPr marL="285750" indent="-285750">
                <a:lnSpc>
                  <a:spcPct val="9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Relationships detection</a:t>
              </a:r>
            </a:p>
            <a:p>
              <a:pPr marL="285750" indent="-285750">
                <a:lnSpc>
                  <a:spcPct val="9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2">
                      <a:lumMod val="75000"/>
                    </a:schemeClr>
                  </a:solidFill>
                </a:rPr>
                <a:t>Local date tables creation</a:t>
              </a:r>
            </a:p>
          </p:txBody>
        </p:sp>
      </p:grpSp>
      <p:pic>
        <p:nvPicPr>
          <p:cNvPr id="37" name="Picture 36">
            <a:extLst>
              <a:ext uri="{FF2B5EF4-FFF2-40B4-BE49-F238E27FC236}">
                <a16:creationId xmlns:a16="http://schemas.microsoft.com/office/drawing/2014/main" id="{32D55655-9833-34AE-B380-3F8F4BC2C47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16242" y="2203746"/>
            <a:ext cx="396401" cy="63980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24250718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8232075-3093-D09D-63A1-56AE166912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6989" y="1287475"/>
            <a:ext cx="10540265" cy="5331588"/>
          </a:xfrm>
        </p:spPr>
        <p:txBody>
          <a:bodyPr/>
          <a:lstStyle/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Push calculations to the Source </a:t>
            </a:r>
          </a:p>
          <a:p>
            <a:pPr marL="1005840" lvl="2" indent="-285750">
              <a:spcBef>
                <a:spcPts val="300"/>
              </a:spcBef>
              <a:spcAft>
                <a:spcPts val="300"/>
              </a:spcAft>
              <a:buFont typeface="Segoe UI Light" panose="020B0502040204020203" pitchFamily="34" charset="0"/>
              <a:buChar char="-"/>
            </a:pPr>
            <a:r>
              <a:rPr lang="en-US" sz="1800" dirty="0">
                <a:solidFill>
                  <a:schemeClr val="tx1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Use PQ calculated columns rather than DAX calculated columns </a:t>
            </a:r>
          </a:p>
          <a:p>
            <a:pPr marL="1005840" lvl="2" indent="-285750">
              <a:spcBef>
                <a:spcPts val="300"/>
              </a:spcBef>
              <a:spcAft>
                <a:spcPts val="300"/>
              </a:spcAft>
              <a:buFont typeface="Segoe UI Light" panose="020B0502040204020203" pitchFamily="34" charset="0"/>
              <a:buChar char="-"/>
            </a:pPr>
            <a:r>
              <a:rPr lang="en-US" sz="1800" dirty="0">
                <a:solidFill>
                  <a:schemeClr val="tx1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Whenever possible, create a calculated column in the Dim Table rather than in the Fact Table</a:t>
            </a:r>
          </a:p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Use a star schema </a:t>
            </a:r>
          </a:p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Avoid Bi-Directional AND Many-to-Many relationships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which incur a significant performance penalty</a:t>
            </a:r>
          </a:p>
          <a:p>
            <a:pPr marL="1005840" lvl="2" indent="-285750">
              <a:spcBef>
                <a:spcPts val="300"/>
              </a:spcBef>
              <a:spcAft>
                <a:spcPts val="300"/>
              </a:spcAft>
              <a:buFont typeface="Segoe UI Light" panose="020B0502040204020203" pitchFamily="34" charset="0"/>
              <a:buChar char="-"/>
            </a:pPr>
            <a:r>
              <a:rPr lang="en-US" sz="1800" dirty="0">
                <a:solidFill>
                  <a:schemeClr val="tx1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Applying filters/slicers traverses many relationships and can be slower</a:t>
            </a:r>
          </a:p>
          <a:p>
            <a:pPr marL="1005840" lvl="2" indent="-285750">
              <a:spcBef>
                <a:spcPts val="300"/>
              </a:spcBef>
              <a:spcAft>
                <a:spcPts val="300"/>
              </a:spcAft>
              <a:buFont typeface="Segoe UI Light" panose="020B0502040204020203" pitchFamily="34" charset="0"/>
              <a:buChar char="-"/>
            </a:pPr>
            <a:r>
              <a:rPr lang="en-US" sz="1800" dirty="0">
                <a:solidFill>
                  <a:schemeClr val="tx1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Some filter chains unlikely to add business value</a:t>
            </a:r>
          </a:p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Remove unnecessary relationships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 sometimes created by Power BI</a:t>
            </a:r>
          </a:p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Use Integer and presorted index 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columns that are commonly filtered or sliced</a:t>
            </a:r>
            <a:endParaRPr lang="en-US" sz="1800" dirty="0">
              <a:solidFill>
                <a:schemeClr val="tx1"/>
              </a:solidFill>
              <a:effectLst/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29315F-93BB-3010-27C1-5C8C94947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>
                <a:latin typeface="Segoe UI (Body)"/>
              </a:rPr>
              <a:t>Optimizing Model Performanc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F98766-A59A-5861-CD97-4789896A56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9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7466171"/>
      </p:ext>
    </p:extLst>
  </p:cSld>
  <p:clrMapOvr>
    <a:masterClrMapping/>
  </p:clrMapOvr>
  <p:transition>
    <p:fade/>
  </p:transition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8232075-3093-D09D-63A1-56AE166912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6989" y="1221822"/>
            <a:ext cx="10540265" cy="5499653"/>
          </a:xfrm>
        </p:spPr>
        <p:txBody>
          <a:bodyPr/>
          <a:lstStyle/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 startAt="6"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Avoid distinct counts on fields with high cardinality </a:t>
            </a:r>
          </a:p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 startAt="6"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Minimize fields with unnecessary precision and high cardinality </a:t>
            </a:r>
            <a:r>
              <a:rPr lang="en-US" sz="2000" dirty="0">
                <a:solidFill>
                  <a:schemeClr val="tx1"/>
                </a:solidFill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which slow calculations and increase time to load into memory</a:t>
            </a:r>
          </a:p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 startAt="6"/>
            </a:pPr>
            <a:r>
              <a:rPr lang="en-US" sz="2000" b="1" dirty="0">
                <a:solidFill>
                  <a:schemeClr val="tx1"/>
                </a:solidFill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Set Default Summarization to none </a:t>
            </a:r>
            <a:r>
              <a:rPr lang="en-US" sz="2000" dirty="0">
                <a:solidFill>
                  <a:schemeClr val="tx1"/>
                </a:solidFill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on the Modeling Ribbon</a:t>
            </a:r>
          </a:p>
          <a:p>
            <a:pPr marL="1005840" lvl="2" indent="-285750">
              <a:spcBef>
                <a:spcPts val="300"/>
              </a:spcBef>
              <a:spcAft>
                <a:spcPts val="300"/>
              </a:spcAft>
              <a:buFont typeface="Segoe UI Light" panose="020B0502040204020203" pitchFamily="34" charset="0"/>
              <a:buChar char="-"/>
            </a:pPr>
            <a:r>
              <a:rPr lang="en-US" sz="2000" dirty="0">
                <a:solidFill>
                  <a:schemeClr val="tx1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Power BI otherwise tries to sum or count the number when dropped into visuals. </a:t>
            </a:r>
          </a:p>
          <a:p>
            <a:pPr marL="1005840" lvl="2" indent="-285750">
              <a:spcBef>
                <a:spcPts val="300"/>
              </a:spcBef>
              <a:spcAft>
                <a:spcPts val="300"/>
              </a:spcAft>
              <a:buFont typeface="Segoe UI Light" panose="020B0502040204020203" pitchFamily="34" charset="0"/>
              <a:buChar char="-"/>
            </a:pPr>
            <a:r>
              <a:rPr lang="en-US" sz="2000" dirty="0">
                <a:solidFill>
                  <a:schemeClr val="tx1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Detailed tables/matrixes can be slower</a:t>
            </a:r>
          </a:p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 startAt="6"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Don’t change blanks to zeros or other values </a:t>
            </a:r>
          </a:p>
          <a:p>
            <a:pPr marL="1005840" lvl="2" indent="-285750">
              <a:spcBef>
                <a:spcPts val="300"/>
              </a:spcBef>
              <a:spcAft>
                <a:spcPts val="300"/>
              </a:spcAft>
              <a:buFont typeface="Segoe UI Light" panose="020B0502040204020203" pitchFamily="34" charset="0"/>
              <a:buChar char="-"/>
            </a:pPr>
            <a:r>
              <a:rPr lang="en-US" sz="2000" dirty="0">
                <a:solidFill>
                  <a:schemeClr val="tx1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Power BI automatically filters out all the rows with blank values from query results</a:t>
            </a:r>
          </a:p>
          <a:p>
            <a:pPr marL="1005840" lvl="2" indent="-285750">
              <a:spcBef>
                <a:spcPts val="300"/>
              </a:spcBef>
              <a:spcAft>
                <a:spcPts val="300"/>
              </a:spcAft>
              <a:buFont typeface="Segoe UI Light" panose="020B0502040204020203" pitchFamily="34" charset="0"/>
              <a:buChar char="-"/>
            </a:pPr>
            <a:r>
              <a:rPr lang="en-US" sz="2000" dirty="0">
                <a:solidFill>
                  <a:schemeClr val="tx1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If the blanks are replaced, the query space is greatly increased </a:t>
            </a:r>
          </a:p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 startAt="6"/>
            </a:pPr>
            <a:r>
              <a:rPr lang="en-US" sz="2000" b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se Variables </a:t>
            </a:r>
            <a:r>
              <a:rPr lang="en-US" sz="2000" b="1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</a:t>
            </a:r>
            <a:r>
              <a:rPr lang="en-US" sz="2000" b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 DAX instead of repeating measures </a:t>
            </a:r>
          </a:p>
          <a:p>
            <a:pPr marL="1005840" lvl="2" indent="-285750">
              <a:spcBef>
                <a:spcPts val="300"/>
              </a:spcBef>
              <a:spcAft>
                <a:spcPts val="300"/>
              </a:spcAft>
              <a:buFont typeface="Segoe UI Light" panose="020B0502040204020203" pitchFamily="34" charset="0"/>
              <a:buChar char="-"/>
            </a:pPr>
            <a:r>
              <a:rPr lang="en-US" sz="1800" dirty="0">
                <a:solidFill>
                  <a:schemeClr val="tx1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Otherwise, the repeated measure will be re-calculated every time it is mentioned</a:t>
            </a:r>
          </a:p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 startAt="6"/>
            </a:pPr>
            <a:endParaRPr lang="en-US" sz="1800" dirty="0">
              <a:solidFill>
                <a:schemeClr val="tx1"/>
              </a:solidFill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29315F-93BB-3010-27C1-5C8C94947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>
                <a:latin typeface="Segoe UI (Body)"/>
              </a:rPr>
              <a:t>Optimizing Model Performanc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F98766-A59A-5861-CD97-4789896A56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9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126830"/>
      </p:ext>
    </p:extLst>
  </p:cSld>
  <p:clrMapOvr>
    <a:masterClrMapping/>
  </p:clrMapOvr>
  <p:transition>
    <p:fade/>
  </p:transition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8232075-3093-D09D-63A1-56AE166912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6989" y="1119410"/>
            <a:ext cx="10540265" cy="5499653"/>
          </a:xfrm>
        </p:spPr>
        <p:txBody>
          <a:bodyPr/>
          <a:lstStyle/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 startAt="11"/>
            </a:pPr>
            <a:r>
              <a:rPr lang="en-US" sz="2000" b="1" dirty="0">
                <a:solidFill>
                  <a:schemeClr val="tx1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Use DIVIDE() </a:t>
            </a:r>
            <a:r>
              <a:rPr lang="en-US" sz="2000" dirty="0">
                <a:solidFill>
                  <a:schemeClr val="tx1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Instead of / with an IF 0 condition</a:t>
            </a:r>
          </a:p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 startAt="11"/>
            </a:pPr>
            <a:r>
              <a:rPr lang="en-US" sz="2000" b="1" dirty="0">
                <a:solidFill>
                  <a:schemeClr val="tx1"/>
                </a:solidFill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Calculate Ratios Efficiently </a:t>
            </a:r>
          </a:p>
          <a:p>
            <a:pPr marL="1005840" lvl="2" indent="-285750">
              <a:spcBef>
                <a:spcPts val="300"/>
              </a:spcBef>
              <a:spcAft>
                <a:spcPts val="300"/>
              </a:spcAft>
              <a:buFont typeface="Segoe UI Light" panose="020B0502040204020203" pitchFamily="34" charset="0"/>
              <a:buChar char="-"/>
            </a:pPr>
            <a:r>
              <a:rPr lang="en-US" sz="1800" dirty="0">
                <a:solidFill>
                  <a:schemeClr val="tx1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Use (a-b)/b with variables instead of a/b – 1 or a/b*100 – 100</a:t>
            </a:r>
          </a:p>
          <a:p>
            <a:pPr marL="1005840" lvl="2" indent="-285750">
              <a:spcBef>
                <a:spcPts val="300"/>
              </a:spcBef>
              <a:spcAft>
                <a:spcPts val="300"/>
              </a:spcAft>
              <a:buFont typeface="Segoe UI Light" panose="020B0502040204020203" pitchFamily="34" charset="0"/>
              <a:buChar char="-"/>
            </a:pPr>
            <a:r>
              <a:rPr lang="en-US" sz="1800" dirty="0">
                <a:solidFill>
                  <a:schemeClr val="tx1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Create efficient measures that filter out zero</a:t>
            </a:r>
          </a:p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 startAt="11"/>
            </a:pPr>
            <a:r>
              <a:rPr lang="en-US" sz="2000" b="1" dirty="0">
                <a:solidFill>
                  <a:schemeClr val="tx1"/>
                </a:solidFill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Be wary of DAX functions which need to test every row in a table – </a:t>
            </a:r>
          </a:p>
          <a:p>
            <a:pPr marL="1062990" lvl="2">
              <a:spcBef>
                <a:spcPts val="300"/>
              </a:spcBef>
              <a:spcAft>
                <a:spcPts val="300"/>
              </a:spcAft>
              <a:buFontTx/>
              <a:buChar char="-"/>
            </a:pPr>
            <a:r>
              <a:rPr lang="en-US" sz="1800" dirty="0">
                <a:solidFill>
                  <a:schemeClr val="tx1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These functions can exponentially increase run-time and memory requirements given linear increases in table size. </a:t>
            </a:r>
            <a:r>
              <a:rPr lang="en-US" sz="1800" dirty="0" err="1">
                <a:solidFill>
                  <a:schemeClr val="tx1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i.e</a:t>
            </a:r>
            <a:r>
              <a:rPr lang="en-US" sz="1800" dirty="0">
                <a:solidFill>
                  <a:schemeClr val="tx1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 SUMX, RANKX</a:t>
            </a:r>
          </a:p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 startAt="11"/>
            </a:pPr>
            <a:r>
              <a:rPr lang="en-US" sz="2000" b="1" dirty="0">
                <a:solidFill>
                  <a:schemeClr val="tx1"/>
                </a:solidFill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Avoid string manipulation in measures </a:t>
            </a:r>
          </a:p>
          <a:p>
            <a:pPr marL="1062990" lvl="2">
              <a:spcBef>
                <a:spcPts val="300"/>
              </a:spcBef>
              <a:spcAft>
                <a:spcPts val="300"/>
              </a:spcAft>
              <a:buFontTx/>
              <a:buChar char="-"/>
            </a:pPr>
            <a:r>
              <a:rPr lang="en-US" sz="1800" dirty="0">
                <a:solidFill>
                  <a:schemeClr val="tx1"/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Slows down measures as work is done in calculation engine</a:t>
            </a:r>
          </a:p>
          <a:p>
            <a:pPr marL="720090" lvl="2" indent="0">
              <a:spcBef>
                <a:spcPts val="300"/>
              </a:spcBef>
              <a:spcAft>
                <a:spcPts val="300"/>
              </a:spcAft>
              <a:buNone/>
            </a:pPr>
            <a:endParaRPr lang="en-US" sz="2000" dirty="0">
              <a:solidFill>
                <a:schemeClr val="tx1"/>
              </a:solidFill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 marL="1062990" lvl="2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endParaRPr lang="en-US" sz="1800" dirty="0">
              <a:solidFill>
                <a:schemeClr val="tx1"/>
              </a:solidFill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 startAt="11"/>
            </a:pPr>
            <a:endParaRPr lang="en-US" sz="1800" dirty="0"/>
          </a:p>
          <a:p>
            <a:pPr marL="685800" lvl="1">
              <a:spcBef>
                <a:spcPts val="1200"/>
              </a:spcBef>
              <a:spcAft>
                <a:spcPts val="300"/>
              </a:spcAft>
              <a:buFont typeface="+mj-lt"/>
              <a:buAutoNum type="arabicPeriod" startAt="6"/>
            </a:pPr>
            <a:endParaRPr lang="en-US" sz="1800" dirty="0">
              <a:solidFill>
                <a:schemeClr val="tx1"/>
              </a:solidFill>
              <a:effectLst/>
              <a:latin typeface="Segoe UI Light" panose="020B0502040204020203" pitchFamily="34" charset="0"/>
              <a:ea typeface="Calibri" panose="020F0502020204030204" pitchFamily="34" charset="0"/>
              <a:cs typeface="Segoe UI Light" panose="020B05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29315F-93BB-3010-27C1-5C8C94947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>
                <a:latin typeface="Segoe UI (Body)"/>
              </a:rPr>
              <a:t>Optimizing Model Performanc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F98766-A59A-5861-CD97-4789896A56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47DB54-D037-B84F-B6F1-2E8DA40D09AD}" type="slidenum">
              <a:rPr lang="en-US" smtClean="0"/>
              <a:pPr/>
              <a:t>9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5821048"/>
      </p:ext>
    </p:extLst>
  </p:cSld>
  <p:clrMapOvr>
    <a:masterClrMapping/>
  </p:clrMapOvr>
  <p:transition>
    <p:fade/>
  </p:transition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6566A0-9C80-E89C-14C8-4C39C185E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832" y="2317592"/>
            <a:ext cx="4782335" cy="609398"/>
          </a:xfrm>
        </p:spPr>
        <p:txBody>
          <a:bodyPr/>
          <a:lstStyle/>
          <a:p>
            <a:r>
              <a:rPr lang="en-US" sz="4400" cap="none" dirty="0">
                <a:latin typeface="Segoe UI Semibold" panose="020B0702040204020203" pitchFamily="34" charset="0"/>
              </a:rPr>
              <a:t>Module 7 Lab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47C03D-4EE7-5C3E-845B-DBDED40F8D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25115" y="3348296"/>
            <a:ext cx="4548068" cy="1107996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3600" dirty="0"/>
              <a:t>Lab 7b: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3600" dirty="0"/>
              <a:t>Performance Analyzer</a:t>
            </a:r>
            <a:endParaRPr lang="en-US" sz="240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32B3B18-CA76-BE76-AFCE-465201C6BCE8}"/>
              </a:ext>
            </a:extLst>
          </p:cNvPr>
          <p:cNvGrpSpPr/>
          <p:nvPr/>
        </p:nvGrpSpPr>
        <p:grpSpPr>
          <a:xfrm>
            <a:off x="3825115" y="516429"/>
            <a:ext cx="4548068" cy="1062152"/>
            <a:chOff x="3825115" y="516429"/>
            <a:chExt cx="4548068" cy="1062152"/>
          </a:xfrm>
        </p:grpSpPr>
        <p:sp>
          <p:nvSpPr>
            <p:cNvPr id="4" name="Text Placeholder 1">
              <a:extLst>
                <a:ext uri="{FF2B5EF4-FFF2-40B4-BE49-F238E27FC236}">
                  <a16:creationId xmlns:a16="http://schemas.microsoft.com/office/drawing/2014/main" id="{F4539750-96A4-88EE-715A-7B20B75D2B4D}"/>
                </a:ext>
              </a:extLst>
            </p:cNvPr>
            <p:cNvSpPr txBox="1">
              <a:spLocks/>
            </p:cNvSpPr>
            <p:nvPr/>
          </p:nvSpPr>
          <p:spPr>
            <a:xfrm>
              <a:off x="4709287" y="516429"/>
              <a:ext cx="1570601" cy="498598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2400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5" name="Title 3">
              <a:extLst>
                <a:ext uri="{FF2B5EF4-FFF2-40B4-BE49-F238E27FC236}">
                  <a16:creationId xmlns:a16="http://schemas.microsoft.com/office/drawing/2014/main" id="{0CD3071C-EF9A-160C-193E-CD22B9307112}"/>
                </a:ext>
              </a:extLst>
            </p:cNvPr>
            <p:cNvSpPr txBox="1">
              <a:spLocks/>
            </p:cNvSpPr>
            <p:nvPr/>
          </p:nvSpPr>
          <p:spPr>
            <a:xfrm>
              <a:off x="4444791" y="1015027"/>
              <a:ext cx="3928392" cy="4985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cap="none" dirty="0">
                  <a:solidFill>
                    <a:srgbClr val="FED112"/>
                  </a:solidFill>
                </a:rPr>
                <a:t>Power BI </a:t>
              </a:r>
              <a:r>
                <a:rPr lang="en-US" sz="2800" cap="none" dirty="0">
                  <a:solidFill>
                    <a:schemeClr val="tx1"/>
                  </a:solidFill>
                </a:rPr>
                <a:t>Training</a:t>
              </a:r>
              <a:endParaRPr lang="en-US" sz="2800" dirty="0">
                <a:solidFill>
                  <a:schemeClr val="tx1"/>
                </a:solidFill>
              </a:endParaRPr>
            </a:p>
          </p:txBody>
        </p:sp>
        <p:pic>
          <p:nvPicPr>
            <p:cNvPr id="6" name="Picture 5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F1C8179E-833E-6A63-9CD8-006084751C6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25115" y="950072"/>
              <a:ext cx="943368" cy="6285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94805488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6566A0-9C80-E89C-14C8-4C39C185E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5115" y="2027598"/>
            <a:ext cx="4548067" cy="498598"/>
          </a:xfrm>
        </p:spPr>
        <p:txBody>
          <a:bodyPr/>
          <a:lstStyle/>
          <a:p>
            <a:r>
              <a:rPr lang="en-US" cap="none" dirty="0">
                <a:latin typeface="+mn-lt"/>
              </a:rPr>
              <a:t>Module 8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47C03D-4EE7-5C3E-845B-DBDED40F8D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78455" y="2914490"/>
            <a:ext cx="4548068" cy="615553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4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Tabular Editor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364D75B-1B87-5687-157F-0CA8F48133D7}"/>
              </a:ext>
            </a:extLst>
          </p:cNvPr>
          <p:cNvGrpSpPr/>
          <p:nvPr/>
        </p:nvGrpSpPr>
        <p:grpSpPr>
          <a:xfrm>
            <a:off x="3825115" y="516429"/>
            <a:ext cx="4548068" cy="1062152"/>
            <a:chOff x="3825115" y="516429"/>
            <a:chExt cx="4548068" cy="1062152"/>
          </a:xfrm>
        </p:grpSpPr>
        <p:sp>
          <p:nvSpPr>
            <p:cNvPr id="8" name="Text Placeholder 1">
              <a:extLst>
                <a:ext uri="{FF2B5EF4-FFF2-40B4-BE49-F238E27FC236}">
                  <a16:creationId xmlns:a16="http://schemas.microsoft.com/office/drawing/2014/main" id="{10836EA4-047D-5360-6970-88848D530EB3}"/>
                </a:ext>
              </a:extLst>
            </p:cNvPr>
            <p:cNvSpPr txBox="1">
              <a:spLocks/>
            </p:cNvSpPr>
            <p:nvPr/>
          </p:nvSpPr>
          <p:spPr>
            <a:xfrm>
              <a:off x="4709287" y="516429"/>
              <a:ext cx="1570601" cy="498598"/>
            </a:xfrm>
            <a:prstGeom prst="rect">
              <a:avLst/>
            </a:prstGeom>
          </p:spPr>
          <p:txBody>
            <a:bodyPr lIns="0" tIns="0" rIns="0" bIns="0"/>
            <a:lstStyle>
              <a:lvl1pPr marL="0" marR="0" indent="0" algn="l" defTabSz="914377" rtl="0" eaLnBrk="1" fontAlgn="auto" latinLnBrk="0" hangingPunct="1">
                <a:lnSpc>
                  <a:spcPct val="15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100000"/>
                <a:buFont typeface="Arial" pitchFamily="34" charset="0"/>
                <a:buNone/>
                <a:tabLst/>
                <a:defRPr lang="en-US" sz="1100" kern="1200" cap="none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342900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57466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7985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800089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036622" marR="0" indent="-342900" algn="l" defTabSz="91436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1255713" algn="l"/>
                </a:tabLst>
                <a:defRPr lang="en-US" sz="1100" kern="1200" spc="0" baseline="0" dirty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2400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dvanced</a:t>
              </a:r>
            </a:p>
          </p:txBody>
        </p:sp>
        <p:sp>
          <p:nvSpPr>
            <p:cNvPr id="9" name="Title 3">
              <a:extLst>
                <a:ext uri="{FF2B5EF4-FFF2-40B4-BE49-F238E27FC236}">
                  <a16:creationId xmlns:a16="http://schemas.microsoft.com/office/drawing/2014/main" id="{56BFF73F-5A37-4BC8-019F-6A8097A74AAC}"/>
                </a:ext>
              </a:extLst>
            </p:cNvPr>
            <p:cNvSpPr txBox="1">
              <a:spLocks/>
            </p:cNvSpPr>
            <p:nvPr/>
          </p:nvSpPr>
          <p:spPr>
            <a:xfrm>
              <a:off x="4444791" y="1015027"/>
              <a:ext cx="3928392" cy="4985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algn="ctr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0" kern="1200" cap="all" spc="-100" baseline="0" dirty="0">
                  <a:ln w="3175"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+mn-ea"/>
                  <a:cs typeface="Segoe UI Semibold" panose="020B0702040204020203" pitchFamily="34" charset="0"/>
                </a:defRPr>
              </a:lvl1pPr>
            </a:lstStyle>
            <a:p>
              <a:r>
                <a:rPr lang="en-US" cap="none" dirty="0">
                  <a:solidFill>
                    <a:srgbClr val="FED112"/>
                  </a:solidFill>
                </a:rPr>
                <a:t>Power BI </a:t>
              </a:r>
              <a:r>
                <a:rPr lang="en-US" sz="2800" cap="none" dirty="0">
                  <a:solidFill>
                    <a:schemeClr val="tx1"/>
                  </a:solidFill>
                </a:rPr>
                <a:t>Training</a:t>
              </a:r>
              <a:endParaRPr lang="en-US" sz="2800" dirty="0">
                <a:solidFill>
                  <a:schemeClr val="tx1"/>
                </a:solidFill>
              </a:endParaRPr>
            </a:p>
          </p:txBody>
        </p:sp>
        <p:pic>
          <p:nvPicPr>
            <p:cNvPr id="10" name="Picture 9" descr="A picture containing plate, light&#10;&#10;Description automatically generated">
              <a:extLst>
                <a:ext uri="{FF2B5EF4-FFF2-40B4-BE49-F238E27FC236}">
                  <a16:creationId xmlns:a16="http://schemas.microsoft.com/office/drawing/2014/main" id="{549E3E53-7AF6-0DBC-4FD2-D632774E34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25115" y="950072"/>
              <a:ext cx="943368" cy="6285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04922379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1FC1D-BCF0-4078-9917-AB5F4AAC5E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7800" y="401509"/>
            <a:ext cx="9503355" cy="412454"/>
          </a:xfrm>
        </p:spPr>
        <p:txBody>
          <a:bodyPr/>
          <a:lstStyle/>
          <a:p>
            <a:r>
              <a:rPr lang="en-US" sz="3200" b="1" dirty="0"/>
              <a:t>Tabular Editor</a:t>
            </a:r>
            <a:endParaRPr lang="en-US" sz="32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F67E8B-F894-4EBC-B0C9-61EF4A23A8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5018" y="1824629"/>
            <a:ext cx="8954377" cy="4770537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US" sz="1800" dirty="0">
                <a:solidFill>
                  <a:schemeClr val="accent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Excellent Editor A</a:t>
            </a:r>
            <a:r>
              <a:rPr lang="en-US" sz="1800" dirty="0">
                <a:solidFill>
                  <a:srgbClr val="0040A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ltern</a:t>
            </a:r>
            <a:r>
              <a:rPr lang="en-US" sz="1800" dirty="0">
                <a:solidFill>
                  <a:schemeClr val="accent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tive to SQL Server Data Tools (SSDT) and PBI Interface</a:t>
            </a:r>
          </a:p>
          <a:p>
            <a:pPr marL="344488" lvl="1" indent="-171450"/>
            <a:r>
              <a:rPr lang="en-US" sz="15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Author or modify tabular models for Analysis Services and Power BI without workspace server</a:t>
            </a:r>
          </a:p>
          <a:p>
            <a:pPr marL="344488" lvl="1" indent="-171450"/>
            <a:r>
              <a:rPr lang="en-US" sz="15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Edit model metadata and BIM file offline without accessing any data source</a:t>
            </a:r>
          </a:p>
          <a:p>
            <a:pPr marL="690557" lvl="2" indent="-285750">
              <a:spcBef>
                <a:spcPts val="300"/>
              </a:spcBef>
              <a:buFont typeface="Segoe UI Semilight" panose="020B0402040204020203" pitchFamily="34" charset="0"/>
              <a:buChar char="‒"/>
            </a:pPr>
            <a:r>
              <a:rPr lang="en-US" sz="14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 wait or down time even on huge models</a:t>
            </a:r>
          </a:p>
          <a:p>
            <a:pPr marL="0" lvl="1" indent="0">
              <a:spcBef>
                <a:spcPts val="1200"/>
              </a:spcBef>
              <a:buSzPct val="130000"/>
              <a:buNone/>
            </a:pPr>
            <a:r>
              <a:rPr lang="en-US" sz="1800" dirty="0">
                <a:solidFill>
                  <a:schemeClr val="accent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Quickly Access &amp; Edit Objects Properties</a:t>
            </a:r>
            <a:r>
              <a:rPr lang="en-US" sz="2000" dirty="0">
                <a:solidFill>
                  <a:schemeClr val="accent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endParaRPr lang="en-US" sz="2000" dirty="0">
              <a:solidFill>
                <a:schemeClr val="tx1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344488" lvl="1" indent="-171450"/>
            <a:r>
              <a:rPr lang="en-US" sz="15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Edit the properties of one or multiple objects in the tree </a:t>
            </a:r>
          </a:p>
          <a:p>
            <a:pPr marL="344488" lvl="1" indent="-171450"/>
            <a:r>
              <a:rPr lang="en-US" sz="15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Quickly access and instantaneously create or modify tabular model entities:</a:t>
            </a:r>
          </a:p>
          <a:p>
            <a:pPr marL="690557" lvl="2" indent="-285750">
              <a:spcBef>
                <a:spcPts val="300"/>
              </a:spcBef>
              <a:buFont typeface="Segoe UI Semilight" panose="020B0402040204020203" pitchFamily="34" charset="0"/>
              <a:buChar char="−"/>
            </a:pPr>
            <a:r>
              <a:rPr lang="en-US" sz="14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Measures, Calculated columns, Calculation groups, Display folders, etc..</a:t>
            </a:r>
            <a:endParaRPr lang="en-US" sz="16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800" dirty="0">
                <a:solidFill>
                  <a:schemeClr val="accent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Best Practices Enforcer </a:t>
            </a:r>
          </a:p>
          <a:p>
            <a:pPr marL="344488" lvl="1" indent="-171450"/>
            <a:r>
              <a:rPr lang="en-US" sz="15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Check whether model objects satisfy established Best Practice rules &amp; suggest corrections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800" dirty="0">
                <a:solidFill>
                  <a:schemeClr val="accent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cripting / Calculation Groups</a:t>
            </a:r>
          </a:p>
          <a:p>
            <a:pPr marL="344488" lvl="1" indent="-171450"/>
            <a:r>
              <a:rPr lang="en-US" sz="15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Automate repetitive tasks using scripts &amp; Calculated Tables</a:t>
            </a:r>
            <a:endParaRPr lang="en-US" sz="1500" dirty="0">
              <a:solidFill>
                <a:schemeClr val="tx1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800" dirty="0">
                <a:solidFill>
                  <a:schemeClr val="accent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X Editor </a:t>
            </a:r>
          </a:p>
          <a:p>
            <a:pPr marL="344488" lvl="1" indent="-171450"/>
            <a:r>
              <a:rPr lang="en-US" sz="15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Syntax highlighting lets you easily create and edit Measures, Calculated Column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A4A18AC-64F5-4617-AC79-4DA6273AC75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3" t="625" r="54141" b="27283"/>
          <a:stretch/>
        </p:blipFill>
        <p:spPr>
          <a:xfrm>
            <a:off x="9381669" y="1918215"/>
            <a:ext cx="2283348" cy="4276074"/>
          </a:xfrm>
          <a:prstGeom prst="rect">
            <a:avLst/>
          </a:prstGeom>
        </p:spPr>
      </p:pic>
      <p:pic>
        <p:nvPicPr>
          <p:cNvPr id="13" name="Picture 12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EDC9BAB7-BA57-45E3-BBAB-5065E44FBF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8354" y="256918"/>
            <a:ext cx="594090" cy="59409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5AB24C2-B5C5-47E4-9BD1-D9F17E897BCF}"/>
              </a:ext>
            </a:extLst>
          </p:cNvPr>
          <p:cNvSpPr txBox="1"/>
          <p:nvPr/>
        </p:nvSpPr>
        <p:spPr>
          <a:xfrm>
            <a:off x="548354" y="994886"/>
            <a:ext cx="10598617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tabLst>
                <a:tab pos="2054225" algn="l"/>
              </a:tabLst>
            </a:pPr>
            <a:r>
              <a:rPr lang="en-US" b="1" dirty="0">
                <a:solidFill>
                  <a:schemeClr val="accent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commended Use</a:t>
            </a:r>
            <a:r>
              <a:rPr lang="en-US" dirty="0">
                <a:solidFill>
                  <a:schemeClr val="accent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:	</a:t>
            </a:r>
            <a:r>
              <a:rPr lang="en-US" sz="1600" dirty="0">
                <a:solidFill>
                  <a:schemeClr val="tx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Batch creation, duplication or modification of measures, columns, calculation groups.</a:t>
            </a:r>
          </a:p>
          <a:p>
            <a:pPr>
              <a:lnSpc>
                <a:spcPct val="100000"/>
              </a:lnSpc>
              <a:spcBef>
                <a:spcPts val="0"/>
              </a:spcBef>
              <a:tabLst>
                <a:tab pos="2054225" algn="l"/>
              </a:tabLst>
            </a:pPr>
            <a:r>
              <a:rPr lang="en-US" sz="1600" dirty="0">
                <a:solidFill>
                  <a:schemeClr val="tx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	Enforcement of best practices. Model documentation.</a:t>
            </a:r>
          </a:p>
        </p:txBody>
      </p:sp>
    </p:spTree>
    <p:extLst>
      <p:ext uri="{BB962C8B-B14F-4D97-AF65-F5344CB8AC3E}">
        <p14:creationId xmlns:p14="http://schemas.microsoft.com/office/powerpoint/2010/main" val="22628973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1FC1D-BCF0-4078-9917-AB5F4AAC5E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6964" y="441115"/>
            <a:ext cx="8198017" cy="412454"/>
          </a:xfrm>
        </p:spPr>
        <p:txBody>
          <a:bodyPr/>
          <a:lstStyle/>
          <a:p>
            <a:r>
              <a:rPr lang="en-US" b="1" dirty="0"/>
              <a:t>What is DAX Studio?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5EAAD7A-B5D3-4910-BCAD-A504405FDE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29584" y="1573927"/>
            <a:ext cx="10642834" cy="4016484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8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800" dirty="0">
                <a:solidFill>
                  <a:srgbClr val="0040A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odel Documentation</a:t>
            </a:r>
          </a:p>
          <a:p>
            <a:pPr marL="514341" lvl="1" indent="-171450"/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Vertipaq Analyzer provides metrics and detailed information on model metadata</a:t>
            </a:r>
          </a:p>
          <a:p>
            <a:pPr marL="514341" lvl="1" indent="-171450"/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Tables and Columns size, cardinality, encoding type, data type </a:t>
            </a:r>
            <a:r>
              <a:rPr lang="en-US" sz="1600" dirty="0" err="1">
                <a:latin typeface="Segoe UI Semilight" panose="020B0402040204020203" pitchFamily="34" charset="0"/>
                <a:cs typeface="Segoe UI Semilight" panose="020B0402040204020203" pitchFamily="34" charset="0"/>
              </a:rPr>
              <a:t>etc</a:t>
            </a:r>
            <a:endParaRPr lang="en-US" sz="16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514341" lvl="1" indent="-171450"/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Documents all DAX measures, Relationships, Partitions</a:t>
            </a:r>
          </a:p>
          <a:p>
            <a:pPr marL="514341" lvl="1" indent="-171450"/>
            <a:endParaRPr lang="en-US" sz="16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800" dirty="0">
                <a:solidFill>
                  <a:srgbClr val="0040A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odel Performance Optimization</a:t>
            </a:r>
          </a:p>
          <a:p>
            <a:pPr marL="514341" lvl="1" indent="-171450"/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Identify large and high-cardinality fields to remove or optimize</a:t>
            </a:r>
          </a:p>
          <a:p>
            <a:pPr>
              <a:spcBef>
                <a:spcPts val="600"/>
              </a:spcBef>
            </a:pPr>
            <a:r>
              <a:rPr lang="en-US" sz="1800" dirty="0">
                <a:solidFill>
                  <a:srgbClr val="0040A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commended Complementary Tools</a:t>
            </a:r>
          </a:p>
          <a:p>
            <a:pPr marL="514341" lvl="1" indent="-171450"/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Power BI Helper to identify tables and fields that are not used in visuals.</a:t>
            </a:r>
          </a:p>
          <a:p>
            <a:pPr marL="514341" lvl="1" indent="-171450"/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Tabular Editor to quickly and more systematically remove or modify tables, fields and measures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C984A1D-6EEA-4511-8D25-2E8EFC210C40}"/>
              </a:ext>
            </a:extLst>
          </p:cNvPr>
          <p:cNvSpPr txBox="1"/>
          <p:nvPr/>
        </p:nvSpPr>
        <p:spPr>
          <a:xfrm>
            <a:off x="926276" y="1089641"/>
            <a:ext cx="10542054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b="1" dirty="0">
                <a:solidFill>
                  <a:schemeClr val="accent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commended Use</a:t>
            </a:r>
            <a:r>
              <a:rPr lang="en-US" sz="2000" dirty="0">
                <a:solidFill>
                  <a:schemeClr val="accent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: 	</a:t>
            </a:r>
            <a:r>
              <a:rPr lang="en-US" dirty="0">
                <a:solidFill>
                  <a:schemeClr val="tx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ocument &amp; optimize model performance (inc. Vertipaq Analyzer) 				Create, test, optimize and format DAX calculations</a:t>
            </a:r>
          </a:p>
        </p:txBody>
      </p:sp>
      <p:pic>
        <p:nvPicPr>
          <p:cNvPr id="3" name="Picture 2" descr="Icon&#10;&#10;Description automatically generated">
            <a:hlinkClick r:id="rId3"/>
            <a:extLst>
              <a:ext uri="{FF2B5EF4-FFF2-40B4-BE49-F238E27FC236}">
                <a16:creationId xmlns:a16="http://schemas.microsoft.com/office/drawing/2014/main" id="{B87B660F-A3CA-4AD3-21CD-CC7ED1B3F3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0337" y="102354"/>
            <a:ext cx="878494" cy="878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895300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1FC1D-BCF0-4078-9917-AB5F4AAC5E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6964" y="441115"/>
            <a:ext cx="8198017" cy="412454"/>
          </a:xfrm>
        </p:spPr>
        <p:txBody>
          <a:bodyPr/>
          <a:lstStyle/>
          <a:p>
            <a:r>
              <a:rPr lang="en-US" b="1" dirty="0"/>
              <a:t>What is ALM </a:t>
            </a:r>
            <a:r>
              <a:rPr lang="en-US" b="1" dirty="0" err="1"/>
              <a:t>ToolKit</a:t>
            </a:r>
            <a:r>
              <a:rPr lang="en-US" b="1" dirty="0"/>
              <a:t>?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5EAAD7A-B5D3-4910-BCAD-A504405FDE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29584" y="1307227"/>
            <a:ext cx="10642834" cy="4632037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8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800" dirty="0">
                <a:solidFill>
                  <a:srgbClr val="0040A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odel Deployment</a:t>
            </a:r>
          </a:p>
          <a:p>
            <a:pPr marL="514341" lvl="1" indent="-171450"/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Deploy incremental refresh changes / Metadata only deployment across environments </a:t>
            </a:r>
          </a:p>
          <a:p>
            <a:pPr marL="514341" lvl="1" indent="-171450"/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Allow more rigorous documentation, testing and user-signoff processes. </a:t>
            </a:r>
          </a:p>
          <a:p>
            <a:pPr marL="514341" lvl="1" indent="-171450"/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Avoid loading gigabytes of data on every model metadata refresh (can save hours)</a:t>
            </a:r>
          </a:p>
          <a:p>
            <a:pPr>
              <a:spcBef>
                <a:spcPts val="600"/>
              </a:spcBef>
            </a:pPr>
            <a:r>
              <a:rPr lang="en-US" sz="1800" dirty="0">
                <a:solidFill>
                  <a:srgbClr val="0040A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aster metadata management</a:t>
            </a:r>
          </a:p>
          <a:p>
            <a:pPr marL="514341" lvl="1" indent="-171450"/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Extract and merge metadata from multiple models or model subsets</a:t>
            </a:r>
          </a:p>
          <a:p>
            <a:pPr marL="514341" lvl="1" indent="-171450"/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Pick &amp; choose objects/definitions to reuse across models</a:t>
            </a:r>
          </a:p>
          <a:p>
            <a:pPr marL="860410" lvl="2" indent="-285750">
              <a:buFont typeface="Segoe UI Semilight" panose="020B0402040204020203" pitchFamily="34" charset="0"/>
              <a:buChar char="‑"/>
            </a:pPr>
            <a:r>
              <a:rPr lang="en-US" sz="14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i.e. Conformed dimensions, standardized date dimensions, and common measures to be standardized across models.</a:t>
            </a:r>
          </a:p>
          <a:p>
            <a:pPr marL="514341" lvl="1" indent="-171450"/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Standardize objects across different groups/developers</a:t>
            </a:r>
            <a:endParaRPr lang="en-US" sz="1600" dirty="0">
              <a:solidFill>
                <a:srgbClr val="0040AA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800" dirty="0">
                <a:solidFill>
                  <a:srgbClr val="0040A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chema Compare</a:t>
            </a:r>
          </a:p>
          <a:p>
            <a:pPr marL="514341" lvl="1" indent="-171450"/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Compare two models, identify differences, dependencies and implement changes</a:t>
            </a:r>
          </a:p>
          <a:p>
            <a:pPr marL="514341" lvl="1" indent="-171450"/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Prevents deployment and Identify and address potential errors before they occur 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2A1F6ECC-E51B-4433-8B3D-072A406243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17995" y="209641"/>
            <a:ext cx="823179" cy="79618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D878218-13C1-4E47-894B-3AE0ABE68185}"/>
              </a:ext>
            </a:extLst>
          </p:cNvPr>
          <p:cNvSpPr txBox="1"/>
          <p:nvPr/>
        </p:nvSpPr>
        <p:spPr>
          <a:xfrm>
            <a:off x="6626430" y="6575446"/>
            <a:ext cx="578582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spc="-70" dirty="0">
                <a:solidFill>
                  <a:schemeClr val="tx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icrosoft BI Technical Article:  </a:t>
            </a:r>
            <a:r>
              <a:rPr lang="en-US" sz="1200" spc="-70" dirty="0">
                <a:solidFill>
                  <a:srgbClr val="0055B8"/>
                </a:solidFill>
                <a:latin typeface="Segoe UI Semilight" panose="020B0402040204020203" pitchFamily="34" charset="0"/>
                <a:cs typeface="Segoe UI Semilight" panose="020B0402040204020203" pitchFamily="34" charset="0"/>
                <a:hlinkClick r:id="rId5"/>
              </a:rPr>
              <a:t>Model Comparison &amp; Merging for Analysis Services</a:t>
            </a:r>
            <a:endParaRPr lang="en-US" sz="1200" spc="-70" dirty="0">
              <a:solidFill>
                <a:schemeClr val="tx2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endParaRPr lang="en-US" sz="1200" spc="-70" dirty="0">
              <a:solidFill>
                <a:schemeClr val="tx2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C984A1D-6EEA-4511-8D25-2E8EFC210C40}"/>
              </a:ext>
            </a:extLst>
          </p:cNvPr>
          <p:cNvSpPr txBox="1"/>
          <p:nvPr/>
        </p:nvSpPr>
        <p:spPr>
          <a:xfrm>
            <a:off x="926276" y="1089641"/>
            <a:ext cx="1054205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b="1" dirty="0">
                <a:solidFill>
                  <a:schemeClr val="accent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commended Use</a:t>
            </a:r>
            <a:r>
              <a:rPr lang="en-US" sz="2000" dirty="0">
                <a:solidFill>
                  <a:schemeClr val="accent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: </a:t>
            </a:r>
            <a:r>
              <a:rPr lang="en-US" dirty="0">
                <a:solidFill>
                  <a:schemeClr val="tx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odel comparison, merging, deployment, version control &amp; ADO Documentation</a:t>
            </a:r>
          </a:p>
        </p:txBody>
      </p:sp>
    </p:spTree>
    <p:extLst>
      <p:ext uri="{BB962C8B-B14F-4D97-AF65-F5344CB8AC3E}">
        <p14:creationId xmlns:p14="http://schemas.microsoft.com/office/powerpoint/2010/main" val="2111492928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5EAAD7A-B5D3-4910-BCAD-A504405FDE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73777" y="1147116"/>
            <a:ext cx="10170207" cy="4601260"/>
          </a:xfrm>
        </p:spPr>
        <p:txBody>
          <a:bodyPr vert="horz" wrap="square" lIns="0" tIns="0" rIns="0" bIns="0" rtlCol="0">
            <a:spAutoFit/>
          </a:bodyPr>
          <a:lstStyle/>
          <a:p>
            <a:pPr marL="514341" lvl="1" indent="-171450"/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Use Cases:	QA check to confirm development and test models are the same</a:t>
            </a:r>
          </a:p>
          <a:p>
            <a:pPr lvl="3" indent="0">
              <a:buNone/>
            </a:pP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		Identify changes in measure/field names to fix/remap visuals</a:t>
            </a:r>
          </a:p>
          <a:p>
            <a:pPr marL="1828800" lvl="3" indent="-1030288">
              <a:buNone/>
            </a:pP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	Quickly &amp; Independently create composite model that includes new data/logic into existing enterprise model</a:t>
            </a:r>
          </a:p>
          <a:p>
            <a:pPr>
              <a:spcBef>
                <a:spcPts val="600"/>
              </a:spcBef>
            </a:pPr>
            <a:r>
              <a:rPr lang="en-US" sz="1800" dirty="0">
                <a:solidFill>
                  <a:srgbClr val="0040A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lient/ADO Documentation &amp; Version Control</a:t>
            </a:r>
          </a:p>
          <a:p>
            <a:pPr marL="514341" lvl="1" indent="-171450"/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Generate report differences report (Excel) , before/after deployment report for auditing purposes</a:t>
            </a:r>
          </a:p>
          <a:p>
            <a:pPr marL="514341" lvl="1" indent="-171450"/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Generate XMLA script for later reference in SSMS</a:t>
            </a:r>
            <a:endParaRPr lang="en-US" sz="14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514341" lvl="1" indent="-171450"/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Save comparison file including configuration within ALM Toolkit</a:t>
            </a:r>
          </a:p>
          <a:p>
            <a:pPr>
              <a:spcBef>
                <a:spcPts val="600"/>
              </a:spcBef>
            </a:pPr>
            <a:endParaRPr lang="en-US" sz="1800" dirty="0">
              <a:solidFill>
                <a:srgbClr val="0040AA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000" b="1" dirty="0">
                <a:solidFill>
                  <a:srgbClr val="0040AA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t Up</a:t>
            </a:r>
          </a:p>
          <a:p>
            <a:pPr marL="628641" lvl="1" indent="-285750"/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Download installer at </a:t>
            </a: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alm-toolkit.com/</a:t>
            </a:r>
            <a:endParaRPr lang="en-US" sz="16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628641" lvl="1" indent="-285750"/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Select Enhanced datasets metadata option in Power BI Desktop </a:t>
            </a: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  <a:sym typeface="Wingdings" panose="05000000000000000000" pitchFamily="2" charset="2"/>
              </a:rPr>
              <a:t> Model is more readable Json code</a:t>
            </a:r>
            <a:endParaRPr lang="en-US" sz="16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628641" lvl="1" indent="-285750"/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XMLA Endpoint / Analysis Services Protocol available in Power BI Premium only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5F54222-BD9C-4DA5-8FFA-1FC2BF65DE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9392" y="445917"/>
            <a:ext cx="8833735" cy="412454"/>
          </a:xfrm>
        </p:spPr>
        <p:txBody>
          <a:bodyPr/>
          <a:lstStyle/>
          <a:p>
            <a:r>
              <a:rPr lang="en-US" b="1" dirty="0"/>
              <a:t>What is ALM </a:t>
            </a:r>
            <a:r>
              <a:rPr lang="en-US" b="1" dirty="0" err="1"/>
              <a:t>ToolKit</a:t>
            </a:r>
            <a:r>
              <a:rPr lang="en-US" b="1" dirty="0"/>
              <a:t>?</a:t>
            </a:r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02798C14-6D32-4A0B-9204-59B9495283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7995" y="209641"/>
            <a:ext cx="823179" cy="796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53239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Title slide">
  <a:themeElements>
    <a:clrScheme name="Valorem Reply Colors">
      <a:dk1>
        <a:sysClr val="windowText" lastClr="000000"/>
      </a:dk1>
      <a:lt1>
        <a:sysClr val="window" lastClr="FFFFFF"/>
      </a:lt1>
      <a:dk2>
        <a:srgbClr val="595959"/>
      </a:dk2>
      <a:lt2>
        <a:srgbClr val="FFFFFF"/>
      </a:lt2>
      <a:accent1>
        <a:srgbClr val="303E48"/>
      </a:accent1>
      <a:accent2>
        <a:srgbClr val="0055B8"/>
      </a:accent2>
      <a:accent3>
        <a:srgbClr val="253746"/>
      </a:accent3>
      <a:accent4>
        <a:srgbClr val="009ADE"/>
      </a:accent4>
      <a:accent5>
        <a:srgbClr val="EFA31B"/>
      </a:accent5>
      <a:accent6>
        <a:srgbClr val="139EAC"/>
      </a:accent6>
      <a:hlink>
        <a:srgbClr val="0055B8"/>
      </a:hlink>
      <a:folHlink>
        <a:srgbClr val="009ADE"/>
      </a:folHlink>
    </a:clrScheme>
    <a:fontScheme name="Valorem Reply New">
      <a:majorFont>
        <a:latin typeface="Segoe UI Black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25400">
          <a:noFill/>
          <a:headEnd type="triangle"/>
          <a:tailEnd type="none"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6350">
          <a:solidFill>
            <a:schemeClr val="bg1">
              <a:lumMod val="75000"/>
            </a:schemeClr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400" spc="-70" dirty="0" smtClean="0">
            <a:gradFill>
              <a:gsLst>
                <a:gs pos="2917">
                  <a:schemeClr val="bg2"/>
                </a:gs>
                <a:gs pos="95000">
                  <a:schemeClr val="bg2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Valorem Reply Template v2" id="{A6C2AA05-B6BC-49B2-8D0B-C585916168F3}" vid="{B51E2C39-EB38-42AC-94F1-64758460A312}"/>
    </a:ext>
  </a:extLst>
</a:theme>
</file>

<file path=ppt/theme/theme2.xml><?xml version="1.0" encoding="utf-8"?>
<a:theme xmlns:a="http://schemas.openxmlformats.org/drawingml/2006/main" name="1_STB Conversations 2013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4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000" b="1" dirty="0" smtClean="0">
            <a:solidFill>
              <a:schemeClr val="bg1"/>
            </a:solidFill>
            <a:latin typeface="+mj-lt"/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noAutofit/>
      </a:bodyPr>
      <a:lstStyle>
        <a:defPPr>
          <a:lnSpc>
            <a:spcPct val="90000"/>
          </a:lnSpc>
          <a:spcAft>
            <a:spcPts val="600"/>
          </a:spcAft>
          <a:defRPr sz="2400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_STB Conversations 2013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4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000" b="1" dirty="0" smtClean="0">
            <a:solidFill>
              <a:schemeClr val="bg1"/>
            </a:solidFill>
            <a:latin typeface="+mj-lt"/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noAutofit/>
      </a:bodyPr>
      <a:lstStyle>
        <a:defPPr>
          <a:lnSpc>
            <a:spcPct val="90000"/>
          </a:lnSpc>
          <a:spcAft>
            <a:spcPts val="600"/>
          </a:spcAft>
          <a:defRPr sz="2400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819</Words>
  <Application>Microsoft Office PowerPoint</Application>
  <PresentationFormat>Widescreen</PresentationFormat>
  <Paragraphs>1407</Paragraphs>
  <Slides>98</Slides>
  <Notes>79</Notes>
  <HiddenSlides>7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8</vt:i4>
      </vt:variant>
    </vt:vector>
  </HeadingPairs>
  <TitlesOfParts>
    <vt:vector size="117" baseType="lpstr">
      <vt:lpstr>Arial</vt:lpstr>
      <vt:lpstr>Arial Black</vt:lpstr>
      <vt:lpstr>Calibri</vt:lpstr>
      <vt:lpstr>Calibri Light</vt:lpstr>
      <vt:lpstr>Courier New</vt:lpstr>
      <vt:lpstr>Franklin Gothic Book</vt:lpstr>
      <vt:lpstr>Segoe Print</vt:lpstr>
      <vt:lpstr>Segoe UI</vt:lpstr>
      <vt:lpstr>Segoe UI (Body)</vt:lpstr>
      <vt:lpstr>Segoe UI Black</vt:lpstr>
      <vt:lpstr>Segoe UI Light</vt:lpstr>
      <vt:lpstr>Segoe UI Semibold</vt:lpstr>
      <vt:lpstr>Segoe UI Semilight</vt:lpstr>
      <vt:lpstr>Symbol</vt:lpstr>
      <vt:lpstr>Wingdings</vt:lpstr>
      <vt:lpstr>Master Title slide</vt:lpstr>
      <vt:lpstr>1_STB Conversations 2013</vt:lpstr>
      <vt:lpstr>2_STB Conversations 2013</vt:lpstr>
      <vt:lpstr>think-cell Slide</vt:lpstr>
      <vt:lpstr>Power BI Training</vt:lpstr>
      <vt:lpstr>PowerPoint Presentation</vt:lpstr>
      <vt:lpstr>Course Objectives </vt:lpstr>
      <vt:lpstr>Course Agenda </vt:lpstr>
      <vt:lpstr>Module 1</vt:lpstr>
      <vt:lpstr>Module 1 Objectives</vt:lpstr>
      <vt:lpstr>Module 1</vt:lpstr>
      <vt:lpstr>Power BI Desktop Workflow</vt:lpstr>
      <vt:lpstr>Power BI Desktop Development</vt:lpstr>
      <vt:lpstr>Getting the data - Data Connection </vt:lpstr>
      <vt:lpstr>Getting the data - Data Storage Mode</vt:lpstr>
      <vt:lpstr>Data Import vs DirectQuery Storage Mode</vt:lpstr>
      <vt:lpstr>Data Import vs DirectQuery Storage Mode</vt:lpstr>
      <vt:lpstr>Data Import vs DirectQuery Modes</vt:lpstr>
      <vt:lpstr>Composite Model</vt:lpstr>
      <vt:lpstr>Incremental Refresh</vt:lpstr>
      <vt:lpstr>Incremental Refresh Advantages</vt:lpstr>
      <vt:lpstr>Variables and Parameters</vt:lpstr>
      <vt:lpstr>Data Types </vt:lpstr>
      <vt:lpstr>Hierarchies </vt:lpstr>
      <vt:lpstr>Sort By Column</vt:lpstr>
      <vt:lpstr>Aggregations </vt:lpstr>
      <vt:lpstr>PowerPoint Presentation</vt:lpstr>
      <vt:lpstr>Module 2</vt:lpstr>
      <vt:lpstr>Module 2 Objectives</vt:lpstr>
      <vt:lpstr>What is a Data model?</vt:lpstr>
      <vt:lpstr>Guiding Questions</vt:lpstr>
      <vt:lpstr>Data Model Levels</vt:lpstr>
      <vt:lpstr>Conceptual Data Model</vt:lpstr>
      <vt:lpstr>Components of a data model – Fact Tables</vt:lpstr>
      <vt:lpstr>Components of a data model – Dimension Tables</vt:lpstr>
      <vt:lpstr>Table Types Comparison</vt:lpstr>
      <vt:lpstr>Components of a data model – Relationships</vt:lpstr>
      <vt:lpstr>Type of Data Models</vt:lpstr>
      <vt:lpstr>Flat or Denormalized schema</vt:lpstr>
      <vt:lpstr>Star Schema</vt:lpstr>
      <vt:lpstr>Snowflake Schema</vt:lpstr>
      <vt:lpstr>Granularity &amp; Multiple Fact</vt:lpstr>
      <vt:lpstr>Data Modeling</vt:lpstr>
      <vt:lpstr>Module 2 Labs</vt:lpstr>
      <vt:lpstr>Data Modeling</vt:lpstr>
      <vt:lpstr>Module 2 Knowledge Check Questions</vt:lpstr>
      <vt:lpstr>Module 2 Knowledge Check Questions</vt:lpstr>
      <vt:lpstr>Module 3</vt:lpstr>
      <vt:lpstr>Module 3 Objectives</vt:lpstr>
      <vt:lpstr>What is M?</vt:lpstr>
      <vt:lpstr>How do I use M?</vt:lpstr>
      <vt:lpstr>Key Concepts of M</vt:lpstr>
      <vt:lpstr>Primitive Type Values</vt:lpstr>
      <vt:lpstr>Text Functions</vt:lpstr>
      <vt:lpstr>Text Functions</vt:lpstr>
      <vt:lpstr>if….then….else</vt:lpstr>
      <vt:lpstr>if….then….else</vt:lpstr>
      <vt:lpstr>Module 3 Lab</vt:lpstr>
      <vt:lpstr>M Language</vt:lpstr>
      <vt:lpstr>Module 3 Knowledge Check Questions</vt:lpstr>
      <vt:lpstr>Module 3 Knowledge Check Questions</vt:lpstr>
      <vt:lpstr>Module 4</vt:lpstr>
      <vt:lpstr>Module 4 Objectives</vt:lpstr>
      <vt:lpstr>Key Transformations</vt:lpstr>
      <vt:lpstr>Key Transformations</vt:lpstr>
      <vt:lpstr>Join Kinds – Merge Types</vt:lpstr>
      <vt:lpstr>Table Duplicate vs Table Reference</vt:lpstr>
      <vt:lpstr>Join Kinds – Other Combining Queries</vt:lpstr>
      <vt:lpstr>Fuzzy Merge</vt:lpstr>
      <vt:lpstr>Custom Functions</vt:lpstr>
      <vt:lpstr>Enter Data</vt:lpstr>
      <vt:lpstr>Module 4 Lab</vt:lpstr>
      <vt:lpstr>Module 4</vt:lpstr>
      <vt:lpstr>Module 4 Knowledge Check Questions </vt:lpstr>
      <vt:lpstr>Module 5</vt:lpstr>
      <vt:lpstr>Calculated Column vs. Calculated Measures  </vt:lpstr>
      <vt:lpstr>Calculated Column VS. Calculated Measures  </vt:lpstr>
      <vt:lpstr>Module 6</vt:lpstr>
      <vt:lpstr>Module 6 Objectives</vt:lpstr>
      <vt:lpstr>Performance Factors</vt:lpstr>
      <vt:lpstr>Under The Hood</vt:lpstr>
      <vt:lpstr>Storage Engine – Encoding &amp; Compression </vt:lpstr>
      <vt:lpstr>Storage Engine – Encoding &amp; Compression </vt:lpstr>
      <vt:lpstr>Formula Engine</vt:lpstr>
      <vt:lpstr>DAX Calculation Process</vt:lpstr>
      <vt:lpstr>Formula vs Storage Engine</vt:lpstr>
      <vt:lpstr>Optimizing Compression </vt:lpstr>
      <vt:lpstr>Query Folding</vt:lpstr>
      <vt:lpstr>Query Folding</vt:lpstr>
      <vt:lpstr>Module 7</vt:lpstr>
      <vt:lpstr>Optimizing Compression </vt:lpstr>
      <vt:lpstr>Optimizing Compression </vt:lpstr>
      <vt:lpstr>Optimizing Data Segment Size</vt:lpstr>
      <vt:lpstr>Optimizing Model Performance</vt:lpstr>
      <vt:lpstr>Optimizing Model Performance</vt:lpstr>
      <vt:lpstr>Optimizing Model Performance</vt:lpstr>
      <vt:lpstr>Module 7 Lab</vt:lpstr>
      <vt:lpstr>Module 8</vt:lpstr>
      <vt:lpstr>Tabular Editor</vt:lpstr>
      <vt:lpstr>What is DAX Studio?</vt:lpstr>
      <vt:lpstr>What is ALM ToolKit?</vt:lpstr>
      <vt:lpstr>What is ALM ToolKit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vanced Power BI Training</dc:title>
  <dc:creator/>
  <cp:lastModifiedBy/>
  <cp:revision>1</cp:revision>
  <dcterms:modified xsi:type="dcterms:W3CDTF">2023-02-02T14:26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64E781AA9FDF4B9AF46A843F2D38C7</vt:lpwstr>
  </property>
  <property fmtid="{D5CDD505-2E9C-101B-9397-08002B2CF9AE}" pid="3" name="TaxKeyword">
    <vt:lpwstr>3952;#Marketing|a8db7f1f-4e10-4541-bdd0-a3869d2e889d;#4644;#templates|07f73016-f010-4d7a-9465-47c4253e86eb;#4419;#brand|dc511a7a-d027-49be-9e55-13512607adf9</vt:lpwstr>
  </property>
  <property fmtid="{D5CDD505-2E9C-101B-9397-08002B2CF9AE}" pid="4" name="K_A_Industry">
    <vt:lpwstr/>
  </property>
  <property fmtid="{D5CDD505-2E9C-101B-9397-08002B2CF9AE}" pid="5" name="K_A_DocumentAcceptableUse">
    <vt:lpwstr>5466;#Internal Avanade use only|9914b639-e543-480a-a33a-edb490cc60e8</vt:lpwstr>
  </property>
  <property fmtid="{D5CDD505-2E9C-101B-9397-08002B2CF9AE}" pid="6" name="K_A_Operating Group">
    <vt:lpwstr/>
  </property>
  <property fmtid="{D5CDD505-2E9C-101B-9397-08002B2CF9AE}" pid="7" name="K_A_Talent Community">
    <vt:lpwstr/>
  </property>
  <property fmtid="{D5CDD505-2E9C-101B-9397-08002B2CF9AE}" pid="8" name="K_A_Offering">
    <vt:lpwstr/>
  </property>
  <property fmtid="{D5CDD505-2E9C-101B-9397-08002B2CF9AE}" pid="9" name="K_A_Market_Unit_Portfolio">
    <vt:lpwstr>3190;#N/A- Not Applicable|0e36607a-4796-4f4e-bde1-652abdf19e5c</vt:lpwstr>
  </property>
  <property fmtid="{D5CDD505-2E9C-101B-9397-08002B2CF9AE}" pid="10" name="K_A_Asset Type">
    <vt:lpwstr/>
  </property>
  <property fmtid="{D5CDD505-2E9C-101B-9397-08002B2CF9AE}" pid="11" name="K_A_Market Unit">
    <vt:lpwstr/>
  </property>
  <property fmtid="{D5CDD505-2E9C-101B-9397-08002B2CF9AE}" pid="12" name="K_A_AMP_BusinessFunction">
    <vt:lpwstr/>
  </property>
  <property fmtid="{D5CDD505-2E9C-101B-9397-08002B2CF9AE}" pid="13" name="bb61b19362a04c4dabb125d63e0bde14">
    <vt:lpwstr/>
  </property>
  <property fmtid="{D5CDD505-2E9C-101B-9397-08002B2CF9AE}" pid="14" name="i1b72d3e0121427caf4dcfceb8b8a873">
    <vt:lpwstr/>
  </property>
  <property fmtid="{D5CDD505-2E9C-101B-9397-08002B2CF9AE}" pid="15" name="_docset_NoMedatataSyncRequired">
    <vt:lpwstr>False</vt:lpwstr>
  </property>
  <property fmtid="{D5CDD505-2E9C-101B-9397-08002B2CF9AE}" pid="16" name="K_A_Sub_Offerings">
    <vt:lpwstr/>
  </property>
</Properties>
</file>